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908" r:id="rId1"/>
    <p:sldMasterId id="2147483831" r:id="rId2"/>
    <p:sldMasterId id="2147485122" r:id="rId3"/>
    <p:sldMasterId id="2147485131" r:id="rId4"/>
  </p:sldMasterIdLst>
  <p:notesMasterIdLst>
    <p:notesMasterId r:id="rId20"/>
  </p:notesMasterIdLst>
  <p:handoutMasterIdLst>
    <p:handoutMasterId r:id="rId21"/>
  </p:handoutMasterIdLst>
  <p:sldIdLst>
    <p:sldId id="9107" r:id="rId5"/>
    <p:sldId id="9131" r:id="rId6"/>
    <p:sldId id="9116" r:id="rId7"/>
    <p:sldId id="9143" r:id="rId8"/>
    <p:sldId id="9127" r:id="rId9"/>
    <p:sldId id="9134" r:id="rId10"/>
    <p:sldId id="9135" r:id="rId11"/>
    <p:sldId id="9136" r:id="rId12"/>
    <p:sldId id="9137" r:id="rId13"/>
    <p:sldId id="9138" r:id="rId14"/>
    <p:sldId id="9145" r:id="rId15"/>
    <p:sldId id="9146" r:id="rId16"/>
    <p:sldId id="9147" r:id="rId17"/>
    <p:sldId id="9148" r:id="rId18"/>
    <p:sldId id="9068" r:id="rId19"/>
  </p:sldIdLst>
  <p:sldSz cx="9144000" cy="5143500" type="screen16x9"/>
  <p:notesSz cx="6792913" cy="9925050"/>
  <p:defaultTextStyle>
    <a:defPPr>
      <a:defRPr lang="ru-RU"/>
    </a:defPPr>
    <a:lvl1pPr algn="l" defTabSz="69015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344285" indent="112646" algn="l" defTabSz="69015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690156" indent="-3175" algn="l" defTabSz="69015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034439" indent="-4763" algn="l" defTabSz="69015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380310" indent="-6350" algn="l" defTabSz="69015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4651" algn="l" defTabSz="91386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1581" algn="l" defTabSz="91386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198510" algn="l" defTabSz="91386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5439" algn="l" defTabSz="91386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67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54" userDrawn="1">
          <p15:clr>
            <a:srgbClr val="A4A3A4"/>
          </p15:clr>
        </p15:guide>
        <p15:guide id="5" orient="horz" pos="3126" userDrawn="1">
          <p15:clr>
            <a:srgbClr val="A4A3A4"/>
          </p15:clr>
        </p15:guide>
        <p15:guide id="6" pos="2153" userDrawn="1">
          <p15:clr>
            <a:srgbClr val="A4A3A4"/>
          </p15:clr>
        </p15:guide>
        <p15:guide id="7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sar Kapyatov" initials="AK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F0000"/>
    <a:srgbClr val="D5F2FC"/>
    <a:srgbClr val="1D4999"/>
    <a:srgbClr val="FFB2B2"/>
    <a:srgbClr val="FFFFFF"/>
    <a:srgbClr val="0065BD"/>
    <a:srgbClr val="8FAADC"/>
    <a:srgbClr val="2E75B6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536" autoAdjust="0"/>
    <p:restoredTop sz="95211" autoAdjust="0"/>
  </p:normalViewPr>
  <p:slideViewPr>
    <p:cSldViewPr snapToGrid="0">
      <p:cViewPr varScale="1">
        <p:scale>
          <a:sx n="112" d="100"/>
          <a:sy n="112" d="100"/>
        </p:scale>
        <p:origin x="86" y="35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-3390" y="-90"/>
      </p:cViewPr>
      <p:guideLst>
        <p:guide orient="horz" pos="3128"/>
        <p:guide pos="2167"/>
        <p:guide orient="horz" pos="3127"/>
        <p:guide pos="2154"/>
        <p:guide orient="horz" pos="3126"/>
        <p:guide pos="2153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ADFC8963-2523-4E22-B3EE-278C2D79AE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6" y="2"/>
            <a:ext cx="2944282" cy="497679"/>
          </a:xfrm>
          <a:prstGeom prst="rect">
            <a:avLst/>
          </a:prstGeom>
        </p:spPr>
        <p:txBody>
          <a:bodyPr vert="horz" lIns="91620" tIns="45811" rIns="91620" bIns="45811" rtlCol="0"/>
          <a:lstStyle>
            <a:lvl1pPr algn="l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E53BB5F1-5564-408D-AF85-DB8A71E785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7047" y="2"/>
            <a:ext cx="2944281" cy="497679"/>
          </a:xfrm>
          <a:prstGeom prst="rect">
            <a:avLst/>
          </a:prstGeom>
        </p:spPr>
        <p:txBody>
          <a:bodyPr vert="horz" lIns="91620" tIns="45811" rIns="91620" bIns="45811" rtlCol="0"/>
          <a:lstStyle>
            <a:lvl1pPr algn="r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5FC51AD-3A42-4308-AE02-C4769D5FDC58}" type="datetimeFigureOut">
              <a:rPr lang="ru-RU"/>
              <a:pPr>
                <a:defRPr/>
              </a:pPr>
              <a:t>22.10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77D5B113-E6A1-4D45-8578-CCBE143AB8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6" y="9427377"/>
            <a:ext cx="2944282" cy="497679"/>
          </a:xfrm>
          <a:prstGeom prst="rect">
            <a:avLst/>
          </a:prstGeom>
        </p:spPr>
        <p:txBody>
          <a:bodyPr vert="horz" lIns="91620" tIns="45811" rIns="91620" bIns="45811" rtlCol="0" anchor="b"/>
          <a:lstStyle>
            <a:lvl1pPr algn="l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0390484A-0F79-4591-8297-BED10FBB777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7047" y="9427377"/>
            <a:ext cx="2944281" cy="497679"/>
          </a:xfrm>
          <a:prstGeom prst="rect">
            <a:avLst/>
          </a:prstGeom>
        </p:spPr>
        <p:txBody>
          <a:bodyPr vert="horz" wrap="square" lIns="91620" tIns="45811" rIns="91620" bIns="45811" numCol="1" anchor="b" anchorCtr="0" compatLnSpc="1">
            <a:prstTxWarp prst="textNoShape">
              <a:avLst/>
            </a:prstTxWarp>
          </a:bodyPr>
          <a:lstStyle>
            <a:lvl1pPr algn="r" defTabSz="916895">
              <a:defRPr sz="1200"/>
            </a:lvl1pPr>
          </a:lstStyle>
          <a:p>
            <a:fld id="{4DE45DD4-AB7F-4AB0-A750-CE638BB6A44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3823837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78572ECC-BD59-43A3-BE3D-CCCF92563A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6" y="2"/>
            <a:ext cx="2944282" cy="497679"/>
          </a:xfrm>
          <a:prstGeom prst="rect">
            <a:avLst/>
          </a:prstGeom>
        </p:spPr>
        <p:txBody>
          <a:bodyPr vert="horz" lIns="91620" tIns="45811" rIns="91620" bIns="45811" rtlCol="0"/>
          <a:lstStyle>
            <a:lvl1pPr algn="l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97BA5FEE-702A-431C-AA57-6EE660B48AC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7047" y="2"/>
            <a:ext cx="2944281" cy="497679"/>
          </a:xfrm>
          <a:prstGeom prst="rect">
            <a:avLst/>
          </a:prstGeom>
        </p:spPr>
        <p:txBody>
          <a:bodyPr vert="horz" lIns="91620" tIns="45811" rIns="91620" bIns="45811" rtlCol="0"/>
          <a:lstStyle>
            <a:lvl1pPr algn="r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3B1E05B-98FE-4E4C-803B-B55B2E198AC7}" type="datetimeFigureOut">
              <a:rPr lang="ru-RU"/>
              <a:pPr>
                <a:defRPr/>
              </a:pPr>
              <a:t>22.10.2022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xmlns="" id="{CCB2F0AD-F5D5-4C86-ACF0-E021E579649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48363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620" tIns="45811" rIns="91620" bIns="45811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xmlns="" id="{592FAAD7-7B62-4026-8F44-12A0F4C86D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5" y="4775499"/>
            <a:ext cx="5434012" cy="3910108"/>
          </a:xfrm>
          <a:prstGeom prst="rect">
            <a:avLst/>
          </a:prstGeom>
        </p:spPr>
        <p:txBody>
          <a:bodyPr vert="horz" lIns="91620" tIns="45811" rIns="91620" bIns="45811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7229559-B7D3-4691-B820-0277326DCAE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6" y="9427377"/>
            <a:ext cx="2944282" cy="497679"/>
          </a:xfrm>
          <a:prstGeom prst="rect">
            <a:avLst/>
          </a:prstGeom>
        </p:spPr>
        <p:txBody>
          <a:bodyPr vert="horz" lIns="91620" tIns="45811" rIns="91620" bIns="45811" rtlCol="0" anchor="b"/>
          <a:lstStyle>
            <a:lvl1pPr algn="l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30483DBB-AADD-48AE-8641-2F93B5BC01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7047" y="9427377"/>
            <a:ext cx="2944281" cy="497679"/>
          </a:xfrm>
          <a:prstGeom prst="rect">
            <a:avLst/>
          </a:prstGeom>
        </p:spPr>
        <p:txBody>
          <a:bodyPr vert="horz" wrap="square" lIns="91620" tIns="45811" rIns="91620" bIns="45811" numCol="1" anchor="b" anchorCtr="0" compatLnSpc="1">
            <a:prstTxWarp prst="textNoShape">
              <a:avLst/>
            </a:prstTxWarp>
          </a:bodyPr>
          <a:lstStyle>
            <a:lvl1pPr algn="r" defTabSz="916895">
              <a:defRPr sz="1200"/>
            </a:lvl1pPr>
          </a:lstStyle>
          <a:p>
            <a:fld id="{6B3E2739-4C72-4271-8277-AC94C9F4E96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54789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9015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4285" algn="l" defTabSz="69015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90156" algn="l" defTabSz="69015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34439" algn="l" defTabSz="69015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80310" algn="l" defTabSz="69015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27160" algn="l" defTabSz="6908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72589" algn="l" defTabSz="6908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18020" algn="l" defTabSz="6908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63452" algn="l" defTabSz="6908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>
            <a:extLst>
              <a:ext uri="{FF2B5EF4-FFF2-40B4-BE49-F238E27FC236}">
                <a16:creationId xmlns:a16="http://schemas.microsoft.com/office/drawing/2014/main" xmlns="" id="{EE74572F-61A8-440D-A715-61F48B57188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Заметки 2">
            <a:extLst>
              <a:ext uri="{FF2B5EF4-FFF2-40B4-BE49-F238E27FC236}">
                <a16:creationId xmlns:a16="http://schemas.microsoft.com/office/drawing/2014/main" xmlns="" id="{0D63A8AA-014F-42BB-9187-4C3565CB947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5154" eaLnBrk="1" hangingPunct="1">
              <a:spcBef>
                <a:spcPct val="0"/>
              </a:spcBef>
            </a:pPr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1721943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01857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62880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9046">
              <a:defRPr/>
            </a:pPr>
            <a:fld id="{0FA0A742-A0F8-4170-9571-20F33A2CC55B}" type="slidenum">
              <a:rPr lang="ru-RU">
                <a:solidFill>
                  <a:prstClr val="black"/>
                </a:solidFill>
                <a:cs typeface="+mn-cs"/>
              </a:rPr>
              <a:pPr defTabSz="919046">
                <a:defRPr/>
              </a:pPr>
              <a:t>13</a:t>
            </a:fld>
            <a:endParaRPr lang="ru-RU">
              <a:solidFill>
                <a:prstClr val="black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74126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55208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51600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91924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39170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9312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6190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08613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21894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1062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81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/>
            <a:endParaRPr lang="ru-RU" altLang="ru-RU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8114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8739040" y="4980356"/>
            <a:ext cx="95682" cy="9420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3860"/>
            <a:fld id="{42C328C1-A84F-4A39-A664-DBA00541A8C6}" type="slidenum">
              <a:rPr lang="en-US" sz="600" smtClean="0">
                <a:solidFill>
                  <a:srgbClr val="808080"/>
                </a:solidFill>
                <a:cs typeface="+mn-cs"/>
              </a:rPr>
              <a:pPr defTabSz="913860"/>
              <a:t>‹#›</a:t>
            </a:fld>
            <a:endParaRPr lang="en-US" sz="6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861075" y="4980356"/>
            <a:ext cx="775268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001"/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001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933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892904"/>
              </p:ext>
            </p:ext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8739040" y="4980356"/>
            <a:ext cx="95682" cy="9420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3860"/>
            <a:fld id="{42C328C1-A84F-4A39-A664-DBA00541A8C6}" type="slidenum">
              <a:rPr lang="en-US" sz="600" smtClean="0">
                <a:solidFill>
                  <a:srgbClr val="FFFFFF"/>
                </a:solidFill>
                <a:cs typeface="+mn-cs"/>
              </a:rPr>
              <a:pPr defTabSz="913860"/>
              <a:t>‹#›</a:t>
            </a:fld>
            <a:endParaRPr lang="en-US" sz="6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0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7861075" y="4980356"/>
            <a:ext cx="775268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001"/>
            <a:r>
              <a:rPr lang="en-US" sz="6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001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2063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Титульный слайд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1143000" y="841774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anchor="b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1143000" y="2701535"/>
            <a:ext cx="6858000" cy="1241821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Autofit/>
          </a:bodyPr>
          <a:lstStyle>
            <a:lvl1pPr lvl="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/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40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9pPr>
          </a:lstStyle>
          <a:p>
            <a:endParaRPr/>
          </a:p>
        </p:txBody>
      </p:sp>
      <p:sp>
        <p:nvSpPr>
          <p:cNvPr id="4" name="Google Shape;12;p1"/>
          <p:cNvSpPr txBox="1">
            <a:spLocks noGrp="1"/>
          </p:cNvSpPr>
          <p:nvPr>
            <p:ph type="dt" idx="11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ln/>
        </p:spPr>
        <p:txBody>
          <a:bodyPr lIns="68529" tIns="34265" rIns="68529" bIns="34265"/>
          <a:lstStyle>
            <a:lvl1pPr>
              <a:defRPr/>
            </a:lvl1pPr>
          </a:lstStyle>
          <a:p>
            <a:pPr defTabSz="913860">
              <a:defRPr/>
            </a:pPr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5" name="Google Shape;13;p1"/>
          <p:cNvSpPr txBox="1">
            <a:spLocks noGrp="1"/>
          </p:cNvSpPr>
          <p:nvPr>
            <p:ph type="ftr" idx="12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ln/>
        </p:spPr>
        <p:txBody>
          <a:bodyPr lIns="68529" tIns="34265" rIns="68529" bIns="34265"/>
          <a:lstStyle>
            <a:lvl1pPr>
              <a:defRPr/>
            </a:lvl1pPr>
          </a:lstStyle>
          <a:p>
            <a:pPr defTabSz="913860">
              <a:defRPr/>
            </a:pPr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6" name="Google Shape;14;p1"/>
          <p:cNvSpPr txBox="1">
            <a:spLocks noGrp="1"/>
          </p:cNvSpPr>
          <p:nvPr>
            <p:ph type="sldNum" idx="13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ln/>
        </p:spPr>
        <p:txBody>
          <a:bodyPr lIns="68529" tIns="34265" rIns="68529" bIns="34265"/>
          <a:lstStyle>
            <a:lvl1pPr>
              <a:defRPr/>
            </a:lvl1pPr>
          </a:lstStyle>
          <a:p>
            <a:pPr defTabSz="913860">
              <a:defRPr/>
            </a:pPr>
            <a:fld id="{DFD0BCF4-D47E-4C67-B3E5-CB405E08B655}" type="slidenum">
              <a:rPr lang="ru-RU" altLang="ru-RU" sz="1200" smtClean="0">
                <a:solidFill>
                  <a:srgbClr val="000000"/>
                </a:solidFill>
                <a:latin typeface="Arial" charset="0"/>
                <a:cs typeface="+mn-cs"/>
              </a:rPr>
              <a:pPr defTabSz="913860">
                <a:defRPr/>
              </a:pPr>
              <a:t>‹#›</a:t>
            </a:fld>
            <a:endParaRPr lang="ru-RU" alt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10331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3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 lIns="69929" tIns="34964" rIns="69929" bIns="34964"/>
          <a:lstStyle>
            <a:lvl1pPr>
              <a:defRPr/>
            </a:lvl1pPr>
          </a:lstStyle>
          <a:p>
            <a:pPr defTabSz="913860">
              <a:defRPr/>
            </a:pPr>
            <a:endParaRPr lang="en-US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lIns="69929" tIns="34964" rIns="69929" bIns="34964"/>
          <a:lstStyle>
            <a:lvl1pPr>
              <a:defRPr/>
            </a:lvl1pPr>
          </a:lstStyle>
          <a:p>
            <a:pPr defTabSz="913860">
              <a:defRPr/>
            </a:pPr>
            <a:endParaRPr lang="en-US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20060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fld id="{B19B0651-EE4F-4900-A07F-96A6BFA9D0F0}" type="slidenum">
              <a:rPr lang="ru-RU" sz="1200" smtClean="0">
                <a:solidFill>
                  <a:srgbClr val="000000"/>
                </a:solidFill>
                <a:latin typeface="Arial" charset="0"/>
                <a:cs typeface="+mn-cs"/>
              </a:rPr>
              <a:pPr defTabSz="913860"/>
              <a:t>‹#›</a:t>
            </a:fld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578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fld id="{B19B0651-EE4F-4900-A07F-96A6BFA9D0F0}" type="slidenum">
              <a:rPr lang="ru-RU" sz="1200" smtClean="0">
                <a:solidFill>
                  <a:srgbClr val="000000"/>
                </a:solidFill>
                <a:latin typeface="Arial" charset="0"/>
                <a:cs typeface="+mn-cs"/>
              </a:rPr>
              <a:pPr defTabSz="913860"/>
              <a:t>‹#›</a:t>
            </a:fld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29134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"/>
            <a:ext cx="9144070" cy="5143463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127162" y="0"/>
            <a:ext cx="7016838" cy="3036358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60" tIns="34980" rIns="69960" bIns="34980" rtlCol="0" anchor="ctr"/>
          <a:lstStyle/>
          <a:p>
            <a:pPr algn="ctr" defTabSz="914378"/>
            <a:endParaRPr lang="en-US" sz="1200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576758"/>
              </p:ext>
            </p:extLst>
          </p:nvPr>
        </p:nvGraphicFramePr>
        <p:xfrm>
          <a:off x="1623" y="121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3" y="1218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78" hangingPunct="1">
              <a:defRPr/>
            </a:pPr>
            <a:endParaRPr lang="en-US" sz="800" dirty="0">
              <a:solidFill>
                <a:srgbClr val="482A06"/>
              </a:solidFill>
              <a:latin typeface="Arial"/>
              <a:cs typeface="+mn-cs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6202975" y="4785836"/>
            <a:ext cx="675372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hangingPunct="1">
              <a:defRPr/>
            </a:pPr>
            <a:r>
              <a:rPr lang="en-US" sz="6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6202977" y="4880045"/>
            <a:ext cx="2861839" cy="94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hangingPunct="1">
              <a:defRPr/>
            </a:pPr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Last Modified 26/10/2019 20:56 Central Asia Standard Time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6202978" y="4974254"/>
            <a:ext cx="2714247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hangingPunct="1">
              <a:defRPr/>
            </a:pPr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Printed 26/10/2019 17:41 Central Asia Standard Time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14475" y="1097667"/>
            <a:ext cx="6358614" cy="376834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14475" y="2386825"/>
            <a:ext cx="6358614" cy="24376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75" y="2734449"/>
            <a:ext cx="6358614" cy="17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hangingPunct="1">
              <a:defRPr/>
            </a:pPr>
            <a:r>
              <a:rPr lang="en-US" sz="1100" dirty="0">
                <a:solidFill>
                  <a:srgbClr val="808080"/>
                </a:solidFill>
                <a:latin typeface="Arial"/>
                <a:cs typeface="+mn-cs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128471" y="4785835"/>
            <a:ext cx="3918450" cy="274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21102" eaLnBrk="0" hangingPunct="0"/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CONFIDENTIAL AND PROPRIETARY</a:t>
            </a:r>
          </a:p>
          <a:p>
            <a:pPr defTabSz="821102" eaLnBrk="0" hangingPunct="0"/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Any use of this material without specific permission is strictly prohibited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xmlns="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17931" y="197596"/>
            <a:ext cx="1306236" cy="415405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xmlns="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en-US" sz="12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xmlns="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en-US" sz="12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89830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8739040" y="4980352"/>
            <a:ext cx="95682" cy="9420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378"/>
            <a:fld id="{42C328C1-A84F-4A39-A664-DBA00541A8C6}" type="slidenum">
              <a:rPr lang="en-US" sz="600" smtClean="0">
                <a:solidFill>
                  <a:srgbClr val="808080"/>
                </a:solidFill>
                <a:cs typeface="+mn-cs"/>
              </a:rPr>
              <a:pPr defTabSz="914378"/>
              <a:t>‹#›</a:t>
            </a:fld>
            <a:endParaRPr lang="en-US" sz="6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861075" y="4980352"/>
            <a:ext cx="775268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15"/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415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5170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7184845"/>
              </p:ext>
            </p:ext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8739040" y="4980352"/>
            <a:ext cx="95682" cy="9420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378"/>
            <a:fld id="{42C328C1-A84F-4A39-A664-DBA00541A8C6}" type="slidenum">
              <a:rPr lang="en-US" sz="600" smtClean="0">
                <a:solidFill>
                  <a:srgbClr val="FFFFFF"/>
                </a:solidFill>
                <a:cs typeface="+mn-cs"/>
              </a:rPr>
              <a:pPr defTabSz="914378"/>
              <a:t>‹#›</a:t>
            </a:fld>
            <a:endParaRPr lang="en-US" sz="6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0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7861075" y="4980352"/>
            <a:ext cx="775268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15"/>
            <a:r>
              <a:rPr lang="en-US" sz="6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415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6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3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 lIns="69960" tIns="34980" rIns="69960" bIns="34980"/>
          <a:lstStyle>
            <a:lvl1pPr>
              <a:defRPr/>
            </a:lvl1pPr>
          </a:lstStyle>
          <a:p>
            <a:pPr defTabSz="914378">
              <a:defRPr/>
            </a:pPr>
            <a:endParaRPr lang="en-US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lIns="69960" tIns="34980" rIns="69960" bIns="34980"/>
          <a:lstStyle>
            <a:lvl1pPr>
              <a:defRPr/>
            </a:lvl1pPr>
          </a:lstStyle>
          <a:p>
            <a:pPr defTabSz="914378">
              <a:defRPr/>
            </a:pPr>
            <a:endParaRPr lang="en-US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9644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1973BE1F-CEEA-491C-8EBB-AE18928BD57A}"/>
              </a:ext>
            </a:extLst>
          </p:cNvPr>
          <p:cNvSpPr/>
          <p:nvPr userDrawn="1"/>
        </p:nvSpPr>
        <p:spPr>
          <a:xfrm>
            <a:off x="0" y="1"/>
            <a:ext cx="9144000" cy="254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B4815F53-5F0C-45E4-B0C1-A99F9E70C698}"/>
              </a:ext>
            </a:extLst>
          </p:cNvPr>
          <p:cNvSpPr/>
          <p:nvPr userDrawn="1"/>
        </p:nvSpPr>
        <p:spPr>
          <a:xfrm>
            <a:off x="0" y="4867277"/>
            <a:ext cx="9144000" cy="2762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" y="2023365"/>
            <a:ext cx="9143999" cy="1073888"/>
          </a:xfrm>
          <a:prstGeom prst="rect">
            <a:avLst/>
          </a:prstGeom>
        </p:spPr>
        <p:txBody>
          <a:bodyPr lIns="91387" tIns="45694" rIns="91387" bIns="45694"/>
          <a:lstStyle>
            <a:lvl1pPr marL="0" indent="0" algn="ctr">
              <a:buNone/>
              <a:defRPr sz="1500"/>
            </a:lvl1pPr>
            <a:lvl2pPr marL="288590" indent="0" algn="ctr">
              <a:buNone/>
              <a:defRPr sz="1300"/>
            </a:lvl2pPr>
            <a:lvl3pPr marL="577178" indent="0" algn="ctr">
              <a:buNone/>
              <a:defRPr sz="1100"/>
            </a:lvl3pPr>
            <a:lvl4pPr marL="865769" indent="0" algn="ctr">
              <a:buNone/>
              <a:defRPr sz="1000"/>
            </a:lvl4pPr>
            <a:lvl5pPr marL="1154360" indent="0" algn="ctr">
              <a:buNone/>
              <a:defRPr sz="1000"/>
            </a:lvl5pPr>
            <a:lvl6pPr marL="1442948" indent="0" algn="ctr">
              <a:buNone/>
              <a:defRPr sz="1000"/>
            </a:lvl6pPr>
            <a:lvl7pPr marL="1731538" indent="0" algn="ctr">
              <a:buNone/>
              <a:defRPr sz="1000"/>
            </a:lvl7pPr>
            <a:lvl8pPr marL="2020129" indent="0" algn="ctr">
              <a:buNone/>
              <a:defRPr sz="1000"/>
            </a:lvl8pPr>
            <a:lvl9pPr marL="2308716" indent="0" algn="ctr">
              <a:buNone/>
              <a:defRPr sz="10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580904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fld id="{B19B0651-EE4F-4900-A07F-96A6BFA9D0F0}" type="slidenum">
              <a:rPr lang="ru-RU" sz="1200" smtClean="0">
                <a:solidFill>
                  <a:srgbClr val="000000"/>
                </a:solidFill>
                <a:latin typeface="Arial" charset="0"/>
                <a:cs typeface="+mn-cs"/>
              </a:rPr>
              <a:pPr defTabSz="914378"/>
              <a:t>‹#›</a:t>
            </a:fld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6069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fld id="{B19B0651-EE4F-4900-A07F-96A6BFA9D0F0}" type="slidenum">
              <a:rPr lang="ru-RU" sz="1200" smtClean="0">
                <a:solidFill>
                  <a:srgbClr val="000000"/>
                </a:solidFill>
                <a:latin typeface="Arial" charset="0"/>
                <a:cs typeface="+mn-cs"/>
              </a:rPr>
              <a:pPr defTabSz="914378"/>
              <a:t>‹#›</a:t>
            </a:fld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983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78" y="4981578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2149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64C8AB-A359-4283-8B1E-EBE022F7DEE2}" type="slidenum">
              <a:rPr kumimoji="0" lang="ru-RU" altLang="ru-RU" sz="72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62149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72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89399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1C61A7A0-1C93-4AA0-A648-1EB41868A1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81FDE25-092C-446A-8BDB-6D3153C62E83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3614055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E0F20B-E107-408F-9672-DD0CDBF9143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28518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1E9E6BF7-FB71-4B2C-8234-32C3C13624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2386018"/>
            <a:ext cx="9144000" cy="401637"/>
          </a:xfrm>
          <a:prstGeom prst="rect">
            <a:avLst/>
          </a:prstGeom>
          <a:noFill/>
          <a:ln>
            <a:noFill/>
          </a:ln>
        </p:spPr>
        <p:txBody>
          <a:bodyPr lIns="91387" tIns="45694" rIns="91387" bIns="45694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711">
              <a:defRPr/>
            </a:pPr>
            <a:r>
              <a:rPr lang="kk-KZ" sz="2000" b="1" dirty="0">
                <a:latin typeface="Arial" panose="020B0604020202020204" pitchFamily="34" charset="0"/>
              </a:rPr>
              <a:t>Дополнительные материалы:</a:t>
            </a:r>
            <a:endParaRPr lang="ru-RU" sz="2000" b="1" dirty="0">
              <a:latin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43ED1636-1B7C-47FD-9855-16716C79A2AD}"/>
              </a:ext>
            </a:extLst>
          </p:cNvPr>
          <p:cNvSpPr/>
          <p:nvPr userDrawn="1"/>
        </p:nvSpPr>
        <p:spPr>
          <a:xfrm>
            <a:off x="0" y="1"/>
            <a:ext cx="9144000" cy="254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CE56EDEA-D39B-46FF-8D9F-E5C67D1A51D0}"/>
              </a:ext>
            </a:extLst>
          </p:cNvPr>
          <p:cNvSpPr/>
          <p:nvPr userDrawn="1"/>
        </p:nvSpPr>
        <p:spPr>
          <a:xfrm>
            <a:off x="0" y="4867277"/>
            <a:ext cx="9144000" cy="2762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eaLnBrk="0" hangingPunct="0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37909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xmlns="" id="{A04B0D3F-F0E0-4E73-9BAE-AB70A2F81154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8B877FB5-FE00-46F7-8A51-590F5A3D9941}"/>
              </a:ext>
            </a:extLst>
          </p:cNvPr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ACC8B1BF-F2E5-49AE-85CA-30FF03FBF646}"/>
              </a:ext>
            </a:extLst>
          </p:cNvPr>
          <p:cNvSpPr/>
          <p:nvPr userDrawn="1"/>
        </p:nvSpPr>
        <p:spPr>
          <a:xfrm>
            <a:off x="8816981" y="4981577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/>
            <a:fld id="{4D36119D-01E7-4561-897C-19765EA65051}" type="slidenum">
              <a:rPr lang="ru-RU" altLang="ru-RU" sz="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xmlns="" id="{48576C9B-AF49-4C95-9ABE-23AD58660D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5002214"/>
            <a:ext cx="2417763" cy="141287"/>
          </a:xfrm>
          <a:prstGeom prst="rect">
            <a:avLst/>
          </a:prstGeom>
        </p:spPr>
        <p:txBody>
          <a:bodyPr lIns="91387" tIns="45694" rIns="91387" bIns="45694"/>
          <a:lstStyle>
            <a:lvl1pPr eaLnBrk="0" hangingPunct="0">
              <a:defRPr sz="6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FEE6B682-F4B8-4C59-99E1-8C7BC685E5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55881" y="5002214"/>
            <a:ext cx="4721225" cy="141287"/>
          </a:xfrm>
          <a:prstGeom prst="rect">
            <a:avLst/>
          </a:prstGeom>
        </p:spPr>
        <p:txBody>
          <a:bodyPr lIns="91387" tIns="45694" rIns="91387" bIns="45694"/>
          <a:lstStyle>
            <a:lvl1pPr eaLnBrk="0" hangingPunct="0">
              <a:defRPr sz="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0795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A16E1790-4FD2-40DD-A50B-1254B0D50241}"/>
              </a:ext>
            </a:extLst>
          </p:cNvPr>
          <p:cNvSpPr txBox="1"/>
          <p:nvPr userDrawn="1"/>
        </p:nvSpPr>
        <p:spPr>
          <a:xfrm>
            <a:off x="79375" y="2363789"/>
            <a:ext cx="9144000" cy="439737"/>
          </a:xfrm>
          <a:prstGeom prst="rect">
            <a:avLst/>
          </a:prstGeom>
          <a:noFill/>
        </p:spPr>
        <p:txBody>
          <a:bodyPr lIns="91387" tIns="45694" rIns="91387" bIns="45694">
            <a:spAutoFit/>
          </a:bodyPr>
          <a:lstStyle/>
          <a:p>
            <a:pPr algn="ctr" defTabSz="69086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2200" b="1" cap="small" dirty="0">
                <a:solidFill>
                  <a:srgbClr val="00A6C8"/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2200" b="1" cap="small" dirty="0">
              <a:solidFill>
                <a:srgbClr val="00A6C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3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"/>
            <a:ext cx="9144070" cy="5143463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127162" y="2"/>
            <a:ext cx="7016838" cy="3036358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29" tIns="34964" rIns="69929" bIns="34964" rtlCol="0" anchor="ctr"/>
          <a:lstStyle/>
          <a:p>
            <a:pPr algn="ctr" defTabSz="913860"/>
            <a:endParaRPr lang="en-US" sz="1200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826642"/>
              </p:ext>
            </p:extLst>
          </p:nvPr>
        </p:nvGraphicFramePr>
        <p:xfrm>
          <a:off x="1623" y="121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3" y="1218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860" hangingPunct="1">
              <a:defRPr/>
            </a:pPr>
            <a:endParaRPr lang="en-US" sz="800" dirty="0">
              <a:solidFill>
                <a:srgbClr val="482A06"/>
              </a:solidFill>
              <a:latin typeface="Arial"/>
              <a:cs typeface="+mn-cs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6202975" y="4785839"/>
            <a:ext cx="675372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60" hangingPunct="1">
              <a:defRPr/>
            </a:pPr>
            <a:r>
              <a:rPr lang="en-US" sz="6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6202977" y="4880045"/>
            <a:ext cx="2861839" cy="94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60" hangingPunct="1">
              <a:defRPr/>
            </a:pPr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Last Modified 26/10/2019 20:56 Central Asia Standard Time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6202982" y="4974257"/>
            <a:ext cx="2714247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60" hangingPunct="1">
              <a:defRPr/>
            </a:pPr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Printed 26/10/2019 17:41 Central Asia Standard Time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14475" y="1097667"/>
            <a:ext cx="6358614" cy="376834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14475" y="2386825"/>
            <a:ext cx="6358614" cy="24373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75" y="2734449"/>
            <a:ext cx="6358614" cy="17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60" hangingPunct="1">
              <a:defRPr/>
            </a:pPr>
            <a:r>
              <a:rPr lang="en-US" sz="1100" dirty="0">
                <a:solidFill>
                  <a:srgbClr val="808080"/>
                </a:solidFill>
                <a:latin typeface="Arial"/>
                <a:cs typeface="+mn-cs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128471" y="4785835"/>
            <a:ext cx="3918450" cy="274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20730" eaLnBrk="0" hangingPunct="0"/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CONFIDENTIAL AND PROPRIETARY</a:t>
            </a:r>
          </a:p>
          <a:p>
            <a:pPr defTabSz="820730" eaLnBrk="0" hangingPunct="0"/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Any use of this material without specific permission is strictly prohibited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xmlns="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17932" y="197600"/>
            <a:ext cx="1306236" cy="415405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xmlns="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60"/>
              <a:endParaRPr lang="en-US" sz="12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xmlns="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60"/>
              <a:endParaRPr lang="en-US" sz="12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82459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image" Target="../media/image1.emf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12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34.xml"/><Relationship Id="rId7" Type="http://schemas.openxmlformats.org/officeDocument/2006/relationships/theme" Target="../theme/theme4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tags" Target="../tags/tag38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24.xml"/><Relationship Id="rId24" Type="http://schemas.openxmlformats.org/officeDocument/2006/relationships/tags" Target="../tags/tag37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FF0FF34-FD67-4FA8-8722-1BE055B3FF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9"/>
            <a:ext cx="2057400" cy="274637"/>
          </a:xfrm>
          <a:prstGeom prst="rect">
            <a:avLst/>
          </a:prstGeom>
        </p:spPr>
        <p:txBody>
          <a:bodyPr vert="horz" lIns="91387" tIns="45694" rIns="91387" bIns="45694" rtlCol="0" anchor="ctr"/>
          <a:lstStyle>
            <a:lvl1pPr algn="l" defTabSz="690864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2DA49AF-B2F5-4940-B7DA-1083FF992E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9"/>
            <a:ext cx="3086100" cy="274637"/>
          </a:xfrm>
          <a:prstGeom prst="rect">
            <a:avLst/>
          </a:prstGeom>
        </p:spPr>
        <p:txBody>
          <a:bodyPr vert="horz" lIns="91387" tIns="45694" rIns="91387" bIns="45694" rtlCol="0" anchor="ctr"/>
          <a:lstStyle>
            <a:lvl1pPr algn="ctr" defTabSz="690864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A5ACD74-7170-495E-A23C-CF79960451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9"/>
            <a:ext cx="2057400" cy="274637"/>
          </a:xfrm>
          <a:prstGeom prst="rect">
            <a:avLst/>
          </a:prstGeom>
        </p:spPr>
        <p:txBody>
          <a:bodyPr vert="horz" wrap="square" lIns="91387" tIns="45694" rIns="91387" bIns="45694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98989"/>
                </a:solidFill>
              </a:defRPr>
            </a:lvl1pPr>
          </a:lstStyle>
          <a:p>
            <a:fld id="{842D390D-45D5-4AE3-9510-907C3B8A6678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13" r:id="rId1"/>
    <p:sldLayoutId id="2147485114" r:id="rId2"/>
    <p:sldLayoutId id="2147485140" r:id="rId3"/>
    <p:sldLayoutId id="2147485141" r:id="rId4"/>
    <p:sldLayoutId id="2147485142" r:id="rId5"/>
  </p:sldLayoutIdLst>
  <p:hf hdr="0" ftr="0" dt="0"/>
  <p:txStyles>
    <p:titleStyle>
      <a:lvl1pPr algn="l" defTabSz="685394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394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394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394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394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6929" algn="l" defTabSz="685394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3860" algn="l" defTabSz="685394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0791" algn="l" defTabSz="685394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7719" algn="l" defTabSz="685394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350" indent="-171350" algn="l" defTabSz="685394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047" indent="-171350" algn="l" defTabSz="685394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6744" indent="-171350" algn="l" defTabSz="685394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441" indent="-171350" algn="l" defTabSz="685394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139" indent="-171350" algn="l" defTabSz="685394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836" indent="-171350" algn="l" defTabSz="6853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535" indent="-171350" algn="l" defTabSz="6853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231" indent="-171350" algn="l" defTabSz="6853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930" indent="-171350" algn="l" defTabSz="6853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98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394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091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791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488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186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882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581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16" r:id="rId1"/>
    <p:sldLayoutId id="2147485117" r:id="rId2"/>
    <p:sldLayoutId id="2147485118" r:id="rId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56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13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069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262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350" indent="-1713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047" indent="-1713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332" indent="-1713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028" indent="-1713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311" indent="-1713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9611" indent="-171783" algn="l" defTabSz="68713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3176" indent="-171783" algn="l" defTabSz="68713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6741" indent="-171783" algn="l" defTabSz="68713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0308" indent="-171783" algn="l" defTabSz="68713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565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131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697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262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828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1395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4961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8525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7466973"/>
              </p:ext>
            </p:extLst>
          </p:nvPr>
        </p:nvGraphicFramePr>
        <p:xfrm>
          <a:off x="0" y="2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3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2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3860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001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6" y="176155"/>
            <a:ext cx="8794113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5" y="57982"/>
            <a:ext cx="375367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860"/>
            <a:r>
              <a:rPr lang="en-US" sz="6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6" y="424608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>
                <a:solidFill>
                  <a:srgbClr val="808080"/>
                </a:solidFill>
                <a:latin typeface="Arial"/>
                <a:cs typeface="+mn-cs"/>
              </a:rPr>
              <a:t>CLIENT</a:t>
            </a:r>
            <a:endParaRPr lang="en-US" sz="12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90" y="4825529"/>
            <a:ext cx="8722840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5559" indent="-65559">
              <a:defRPr/>
            </a:pPr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4979810"/>
            <a:ext cx="7616490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7567" indent="-377567" defTabSz="913001"/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8" y="960048"/>
            <a:ext cx="4350891" cy="39116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860"/>
              <a:r>
                <a:rPr lang="en-US" sz="1200" b="1" dirty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3860"/>
              <a:r>
                <a:rPr lang="en-US" sz="12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554463" y="218665"/>
            <a:ext cx="361125" cy="120033"/>
            <a:chOff x="8386865" y="285750"/>
            <a:chExt cx="353916" cy="15685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6865" y="285750"/>
              <a:ext cx="353916" cy="15685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001">
                <a:buClr>
                  <a:srgbClr val="002960"/>
                </a:buClr>
              </a:pPr>
              <a:r>
                <a:rPr lang="en-US" sz="6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5" y="285750"/>
              <a:ext cx="0" cy="15685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5" y="442609"/>
              <a:ext cx="3539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8331143" y="213809"/>
            <a:ext cx="584460" cy="763295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8095596" y="213812"/>
            <a:ext cx="820008" cy="558813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8280120" y="191940"/>
            <a:ext cx="635482" cy="999790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9002413" y="4979810"/>
            <a:ext cx="34986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29" tIns="34964" rIns="69929" bIns="34964" rtlCol="0" anchor="ctr"/>
          <a:lstStyle/>
          <a:p>
            <a:pPr algn="ctr" defTabSz="913860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A6E9530-8A61-4FB2-B77C-785AE2D43B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068" y="1369090"/>
            <a:ext cx="7887869" cy="1012740"/>
          </a:xfrm>
          <a:prstGeom prst="rect">
            <a:avLst/>
          </a:prstGeom>
        </p:spPr>
        <p:txBody>
          <a:bodyPr vert="horz" lIns="69929" tIns="34964" rIns="69929" bIns="34964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2660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3" r:id="rId1"/>
    <p:sldLayoutId id="2147485124" r:id="rId2"/>
    <p:sldLayoutId id="2147485125" r:id="rId3"/>
    <p:sldLayoutId id="2147485126" r:id="rId4"/>
    <p:sldLayoutId id="2147485127" r:id="rId5"/>
    <p:sldLayoutId id="2147485128" r:id="rId6"/>
    <p:sldLayoutId id="2147485129" r:id="rId7"/>
  </p:sldLayoutIdLst>
  <p:hf hdr="0" ftr="0" dt="0"/>
  <p:txStyles>
    <p:titleStyle>
      <a:lvl1pPr algn="l" defTabSz="913001" rtl="0" eaLnBrk="1" fontAlgn="base" hangingPunct="1">
        <a:spcBef>
          <a:spcPct val="0"/>
        </a:spcBef>
        <a:spcAft>
          <a:spcPct val="0"/>
        </a:spcAft>
        <a:tabLst>
          <a:tab pos="275196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212"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428"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642"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856"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71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8667" indent="-145914" algn="l" defTabSz="68471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41381" indent="-189963" algn="l" defTabSz="68471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70780" indent="-118385" algn="l" defTabSz="68471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72643" indent="-99110" algn="l" defTabSz="68471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64590" indent="-132742" algn="l" defTabSz="9130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590" indent="-132742" algn="l" defTabSz="9130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590" indent="-132742" algn="l" defTabSz="9130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590" indent="-132742" algn="l" defTabSz="9130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12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28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642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856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068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285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497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711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41214097"/>
              </p:ext>
            </p:extLst>
          </p:nvPr>
        </p:nvGraphicFramePr>
        <p:xfrm>
          <a:off x="0" y="2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2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378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415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2" y="176150"/>
            <a:ext cx="8794113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1" y="57979"/>
            <a:ext cx="375367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78"/>
            <a:r>
              <a:rPr lang="en-US" sz="6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2" y="424604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>
                <a:solidFill>
                  <a:srgbClr val="808080"/>
                </a:solidFill>
                <a:latin typeface="Arial"/>
                <a:cs typeface="+mn-cs"/>
              </a:rPr>
              <a:t>CLIENT</a:t>
            </a:r>
            <a:endParaRPr lang="en-US" sz="12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90" y="4825525"/>
            <a:ext cx="8722840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5588" indent="-65588">
              <a:defRPr/>
            </a:pPr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4979806"/>
            <a:ext cx="7616490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7737" indent="-377737" defTabSz="913415"/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7" y="960048"/>
            <a:ext cx="4350891" cy="39116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78"/>
              <a:r>
                <a:rPr lang="en-US" sz="1200" b="1" dirty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4378"/>
              <a:r>
                <a:rPr lang="en-US" sz="12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554453" y="218665"/>
            <a:ext cx="361125" cy="120033"/>
            <a:chOff x="8386861" y="285750"/>
            <a:chExt cx="353916" cy="15685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6861" y="285750"/>
              <a:ext cx="353916" cy="15685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15">
                <a:buClr>
                  <a:srgbClr val="002960"/>
                </a:buClr>
              </a:pPr>
              <a:r>
                <a:rPr lang="en-US" sz="6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1" y="285750"/>
              <a:ext cx="0" cy="15685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1" y="442609"/>
              <a:ext cx="3539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8331143" y="213809"/>
            <a:ext cx="584460" cy="763295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8095596" y="213809"/>
            <a:ext cx="820008" cy="558813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8280120" y="191940"/>
            <a:ext cx="635482" cy="999790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9002413" y="4979806"/>
            <a:ext cx="34986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60" tIns="34980" rIns="69960" bIns="34980" rtlCol="0" anchor="ctr"/>
          <a:lstStyle/>
          <a:p>
            <a:pPr algn="ctr" defTabSz="914378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A6E9530-8A61-4FB2-B77C-785AE2D43B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068" y="1369090"/>
            <a:ext cx="7887869" cy="1012740"/>
          </a:xfrm>
          <a:prstGeom prst="rect">
            <a:avLst/>
          </a:prstGeom>
        </p:spPr>
        <p:txBody>
          <a:bodyPr vert="horz" lIns="69960" tIns="34980" rIns="69960" bIns="3498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587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2" r:id="rId1"/>
    <p:sldLayoutId id="2147485133" r:id="rId2"/>
    <p:sldLayoutId id="2147485134" r:id="rId3"/>
    <p:sldLayoutId id="2147485136" r:id="rId4"/>
    <p:sldLayoutId id="2147485137" r:id="rId5"/>
    <p:sldLayoutId id="2147485138" r:id="rId6"/>
  </p:sldLayoutIdLst>
  <p:hf hdr="0" ftr="0" dt="0"/>
  <p:txStyles>
    <p:titleStyle>
      <a:lvl1pPr algn="l" defTabSz="913415" rtl="0" eaLnBrk="1" fontAlgn="base" hangingPunct="1">
        <a:spcBef>
          <a:spcPct val="0"/>
        </a:spcBef>
        <a:spcAft>
          <a:spcPct val="0"/>
        </a:spcAft>
        <a:tabLst>
          <a:tab pos="275320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24"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51"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74"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699"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028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8734" indent="-145979" algn="l" defTabSz="685028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41537" indent="-190049" algn="l" defTabSz="685028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70993" indent="-118437" algn="l" defTabSz="685028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72903" indent="-99155" algn="l" defTabSz="685028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64936" indent="-132802" algn="l" defTabSz="9134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36" indent="-132802" algn="l" defTabSz="9134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36" indent="-132802" algn="l" defTabSz="9134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36" indent="-132802" algn="l" defTabSz="9134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24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51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74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99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24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50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974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399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2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3">
            <a:extLst>
              <a:ext uri="{FF2B5EF4-FFF2-40B4-BE49-F238E27FC236}">
                <a16:creationId xmlns:a16="http://schemas.microsoft.com/office/drawing/2014/main" xmlns="" id="{0BE088F7-3E2C-43B5-B436-DD3B834E71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39645" y="4561687"/>
            <a:ext cx="3071813" cy="28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7" tIns="45694" rIns="91387" bIns="45694">
            <a:spAutoFit/>
          </a:bodyPr>
          <a:lstStyle/>
          <a:p>
            <a:pPr algn="ctr"/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</a:rPr>
              <a:t>Астана қ., 2022 </a:t>
            </a:r>
            <a:r>
              <a:rPr lang="ru-RU" alt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ыл</a:t>
            </a:r>
            <a:endParaRPr lang="ru-RU" altLang="ru-RU" sz="12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8195" name="TextBox 4">
            <a:extLst>
              <a:ext uri="{FF2B5EF4-FFF2-40B4-BE49-F238E27FC236}">
                <a16:creationId xmlns:a16="http://schemas.microsoft.com/office/drawing/2014/main" xmlns="" id="{925D908F-090E-45C4-864C-B73388E25E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9075" y="2000705"/>
            <a:ext cx="7356974" cy="830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87" tIns="45694" rIns="91387" bIns="45694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sz="2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АГЛОМЕРАЦИЯЛАРДЫ </a:t>
            </a:r>
            <a:r>
              <a:rPr lang="ru-RU" altLang="ru-RU" sz="2400" b="1" dirty="0">
                <a:solidFill>
                  <a:srgbClr val="002060"/>
                </a:solidFill>
                <a:latin typeface="Arial" panose="020B0604020202020204" pitchFamily="34" charset="0"/>
              </a:rPr>
              <a:t>ДАМЫТУ </a:t>
            </a:r>
            <a:r>
              <a:rPr lang="ru-RU" altLang="ru-RU" sz="2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ТУРАЛЫ </a:t>
            </a:r>
          </a:p>
          <a:p>
            <a:pPr algn="ctr" eaLnBrk="1" hangingPunct="1"/>
            <a:r>
              <a:rPr lang="ru-RU" altLang="ru-RU" sz="2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ЗАҢ ЖОБАЛАРЫ</a:t>
            </a:r>
            <a:endParaRPr lang="ru-RU" altLang="ru-RU" sz="24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grpSp>
        <p:nvGrpSpPr>
          <p:cNvPr id="8196" name="Группа 21">
            <a:extLst>
              <a:ext uri="{FF2B5EF4-FFF2-40B4-BE49-F238E27FC236}">
                <a16:creationId xmlns:a16="http://schemas.microsoft.com/office/drawing/2014/main" xmlns="" id="{E4291174-E308-4C93-9AE4-653F1ED08D7E}"/>
              </a:ext>
            </a:extLst>
          </p:cNvPr>
          <p:cNvGrpSpPr>
            <a:grpSpLocks/>
          </p:cNvGrpSpPr>
          <p:nvPr/>
        </p:nvGrpSpPr>
        <p:grpSpPr bwMode="auto">
          <a:xfrm>
            <a:off x="463551" y="2947994"/>
            <a:ext cx="971550" cy="1851025"/>
            <a:chOff x="464265" y="2731224"/>
            <a:chExt cx="970344" cy="1850030"/>
          </a:xfrm>
        </p:grpSpPr>
        <p:sp>
          <p:nvSpPr>
            <p:cNvPr id="6" name="Graphic 1">
              <a:extLst>
                <a:ext uri="{FF2B5EF4-FFF2-40B4-BE49-F238E27FC236}">
                  <a16:creationId xmlns:a16="http://schemas.microsoft.com/office/drawing/2014/main" xmlns="" id="{F83CF686-0917-4C96-AAC3-AD054DE35E74}"/>
                </a:ext>
              </a:extLst>
            </p:cNvPr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7" name="Graphic 1">
              <a:extLst>
                <a:ext uri="{FF2B5EF4-FFF2-40B4-BE49-F238E27FC236}">
                  <a16:creationId xmlns:a16="http://schemas.microsoft.com/office/drawing/2014/main" xmlns="" id="{1FE7C61E-AE9B-48EC-AD6E-53EEEB049910}"/>
                </a:ext>
              </a:extLst>
            </p:cNvPr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8" name="Graphic 1">
              <a:extLst>
                <a:ext uri="{FF2B5EF4-FFF2-40B4-BE49-F238E27FC236}">
                  <a16:creationId xmlns:a16="http://schemas.microsoft.com/office/drawing/2014/main" xmlns="" id="{DA7CDF5A-854C-4D6D-8BB3-6DC758654544}"/>
                </a:ext>
              </a:extLst>
            </p:cNvPr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9" name="Graphic 1">
              <a:extLst>
                <a:ext uri="{FF2B5EF4-FFF2-40B4-BE49-F238E27FC236}">
                  <a16:creationId xmlns:a16="http://schemas.microsoft.com/office/drawing/2014/main" xmlns="" id="{FADE55FA-53B8-4D2A-8AB8-4E04F071D48C}"/>
                </a:ext>
              </a:extLst>
            </p:cNvPr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10" name="Graphic 1">
              <a:extLst>
                <a:ext uri="{FF2B5EF4-FFF2-40B4-BE49-F238E27FC236}">
                  <a16:creationId xmlns:a16="http://schemas.microsoft.com/office/drawing/2014/main" xmlns="" id="{009DAC32-8BB9-4A28-A599-F4454B1CB7D7}"/>
                </a:ext>
              </a:extLst>
            </p:cNvPr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11" name="Graphic 1">
              <a:extLst>
                <a:ext uri="{FF2B5EF4-FFF2-40B4-BE49-F238E27FC236}">
                  <a16:creationId xmlns:a16="http://schemas.microsoft.com/office/drawing/2014/main" xmlns="" id="{946FA3E9-E8AB-4C7E-B4FC-3CA4D685A665}"/>
                </a:ext>
              </a:extLst>
            </p:cNvPr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:a16="http://schemas.microsoft.com/office/drawing/2014/main" xmlns="" id="{A33647AC-2C81-4666-9218-2D26CA8F3F35}"/>
                </a:ext>
              </a:extLst>
            </p:cNvPr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:a16="http://schemas.microsoft.com/office/drawing/2014/main" xmlns="" id="{60A02320-CCF6-409B-AB32-321B523A727D}"/>
                </a:ext>
              </a:extLst>
            </p:cNvPr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</p:grpSp>
      <p:pic>
        <p:nvPicPr>
          <p:cNvPr id="5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xmlns="" id="{D797B556-91EA-49B2-B8B6-22215D274621}"/>
              </a:ext>
            </a:extLst>
          </p:cNvPr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9577" y="1827214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198" name="Группа 29">
            <a:extLst>
              <a:ext uri="{FF2B5EF4-FFF2-40B4-BE49-F238E27FC236}">
                <a16:creationId xmlns:a16="http://schemas.microsoft.com/office/drawing/2014/main" xmlns="" id="{E97A346B-23BB-4989-9CBA-D6F3D03B1786}"/>
              </a:ext>
            </a:extLst>
          </p:cNvPr>
          <p:cNvGrpSpPr>
            <a:grpSpLocks/>
          </p:cNvGrpSpPr>
          <p:nvPr/>
        </p:nvGrpSpPr>
        <p:grpSpPr bwMode="auto">
          <a:xfrm>
            <a:off x="463551" y="315914"/>
            <a:ext cx="971550" cy="1392237"/>
            <a:chOff x="464265" y="499361"/>
            <a:chExt cx="970344" cy="1391523"/>
          </a:xfrm>
        </p:grpSpPr>
        <p:sp>
          <p:nvSpPr>
            <p:cNvPr id="38" name="Graphic 1">
              <a:extLst>
                <a:ext uri="{FF2B5EF4-FFF2-40B4-BE49-F238E27FC236}">
                  <a16:creationId xmlns:a16="http://schemas.microsoft.com/office/drawing/2014/main" xmlns="" id="{00D6DCD4-3DCA-47BA-BDB2-BCF7FFD5969A}"/>
                </a:ext>
              </a:extLst>
            </p:cNvPr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:a16="http://schemas.microsoft.com/office/drawing/2014/main" xmlns="" id="{D4189F92-1E9C-417A-84CC-768F9834F425}"/>
                </a:ext>
              </a:extLst>
            </p:cNvPr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:a16="http://schemas.microsoft.com/office/drawing/2014/main" xmlns="" id="{05463BBC-9909-4384-B60B-186B61A9A10A}"/>
                </a:ext>
              </a:extLst>
            </p:cNvPr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41" name="Graphic 1">
              <a:extLst>
                <a:ext uri="{FF2B5EF4-FFF2-40B4-BE49-F238E27FC236}">
                  <a16:creationId xmlns:a16="http://schemas.microsoft.com/office/drawing/2014/main" xmlns="" id="{0BBE924C-8BA5-4223-847A-158C96C0F301}"/>
                </a:ext>
              </a:extLst>
            </p:cNvPr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:a16="http://schemas.microsoft.com/office/drawing/2014/main" xmlns="" id="{3ABDEC94-5853-4E6A-8D09-08CC37B5BCED}"/>
                </a:ext>
              </a:extLst>
            </p:cNvPr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:a16="http://schemas.microsoft.com/office/drawing/2014/main" xmlns="" id="{3173BBA7-A142-4100-A9B4-4D213FC31570}"/>
                </a:ext>
              </a:extLst>
            </p:cNvPr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</p:grpSp>
      <p:sp>
        <p:nvSpPr>
          <p:cNvPr id="21" name="TextBox 4">
            <a:extLst>
              <a:ext uri="{FF2B5EF4-FFF2-40B4-BE49-F238E27FC236}">
                <a16:creationId xmlns:a16="http://schemas.microsoft.com/office/drawing/2014/main" xmlns="" id="{925D908F-090E-45C4-864C-B73388E25E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35100" y="315907"/>
            <a:ext cx="7587517" cy="646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87" tIns="45694" rIns="91387" bIns="45694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зақстан</a:t>
            </a: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" panose="020B0604020202020204" pitchFamily="34" charset="0"/>
              </a:rPr>
              <a:t>Республикасы</a:t>
            </a: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</a:p>
          <a:p>
            <a:pPr algn="ctr" eaLnBrk="1" hangingPunct="1"/>
            <a:r>
              <a:rPr lang="ru-RU" altLang="ru-RU" b="1" dirty="0" err="1">
                <a:solidFill>
                  <a:srgbClr val="002060"/>
                </a:solidFill>
                <a:latin typeface="Arial" panose="020B0604020202020204" pitchFamily="34" charset="0"/>
              </a:rPr>
              <a:t>Ұлттық</a:t>
            </a: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</a:rPr>
              <a:t> экономика </a:t>
            </a:r>
            <a:r>
              <a:rPr lang="ru-RU" altLang="ru-RU" b="1" dirty="0" err="1">
                <a:solidFill>
                  <a:srgbClr val="002060"/>
                </a:solidFill>
                <a:latin typeface="Arial" panose="020B0604020202020204" pitchFamily="34" charset="0"/>
              </a:rPr>
              <a:t>министрлігі</a:t>
            </a:r>
            <a:endParaRPr lang="ru-RU" altLang="ru-RU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0220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49537" y="62765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Негізгі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заң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жобасы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шеңберінде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ЖАО </a:t>
            </a:r>
            <a:r>
              <a:rPr lang="ru-RU" altLang="ru-RU" b="1" cap="small" dirty="0" err="1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берілетін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құзыреттер</a:t>
            </a:r>
            <a:endParaRPr lang="ru-RU" alt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sp>
        <p:nvSpPr>
          <p:cNvPr id="18" name="Прямоугольник 15"/>
          <p:cNvSpPr/>
          <p:nvPr/>
        </p:nvSpPr>
        <p:spPr>
          <a:xfrm>
            <a:off x="432645" y="1272368"/>
            <a:ext cx="8697069" cy="3116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станан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р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еспубликалық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лард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дамыт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мен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алуд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с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оспар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астананың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республикалық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лард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мағын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атқызылға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іргелес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умақтарды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ұрылысы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оспарлауды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ешенд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схемасы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b="1" i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(</a:t>
            </a:r>
            <a:r>
              <a:rPr lang="ru-RU" sz="1200" b="1" i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удандық</a:t>
            </a:r>
            <a:r>
              <a:rPr lang="ru-RU" sz="1200" b="1" i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b="1" i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оспарлау</a:t>
            </a:r>
            <a:r>
              <a:rPr lang="ru-RU" sz="1200" b="1" i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b="1" i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обасын</a:t>
            </a:r>
            <a:r>
              <a:rPr lang="ru-RU" sz="1200" b="1" i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)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іске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сыру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өніндег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субъектілерді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ызметі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үйлестіреді</a:t>
            </a:r>
            <a:endParaRPr lang="ru-RU" sz="1350" b="1" dirty="0" smtClean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90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Астана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умағ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республикалық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лард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лард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мақтар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дамыт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мен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алуд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бас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оспарыны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обасы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әзірлеуд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ұйымдастырады</a:t>
            </a:r>
            <a:endParaRPr lang="ru-RU" sz="1350" b="1" dirty="0" smtClean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стана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республик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лард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лард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мақтары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умағынд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олданылат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әулет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рылыс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рылыс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ызме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алас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емлекеттік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нормативтерді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обалары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еліседі</a:t>
            </a:r>
            <a:endParaRPr lang="ru-RU" sz="1350" b="1" dirty="0" smtClean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kk-KZ" sz="135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Елді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мекендері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агломерацияға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кіретін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облыстың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ЖАО </a:t>
            </a:r>
            <a:r>
              <a:rPr lang="ru-RU" altLang="ru-RU" sz="1350" smtClean="0">
                <a:latin typeface="Arial" panose="020B0604020202020204"/>
                <a:cs typeface="Arial Narrow" panose="020B0606020202030204"/>
              </a:rPr>
              <a:t>астана</a:t>
            </a:r>
            <a:r>
              <a:rPr lang="ru-RU" alt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Республикалық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қалалар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әкімдігінің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қарауына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агломерация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брендін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ілгерілетуге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бағытталған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іс-шараларды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өткізу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dirty="0" err="1">
                <a:latin typeface="Arial" panose="020B0604020202020204"/>
                <a:cs typeface="Arial Narrow" panose="020B0606020202030204"/>
              </a:rPr>
              <a:t>жөнінде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ұсыныстар</a:t>
            </a:r>
            <a:r>
              <a:rPr lang="ru-RU" alt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әзірлеуді</a:t>
            </a:r>
            <a:r>
              <a:rPr lang="ru-RU" alt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alt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енгізуді</a:t>
            </a:r>
            <a:r>
              <a:rPr lang="ru-RU" alt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үзеге</a:t>
            </a:r>
            <a:r>
              <a:rPr lang="ru-RU" alt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alt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сырады</a:t>
            </a:r>
            <a:endParaRPr lang="ru-RU" sz="1350" b="1" dirty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</p:txBody>
      </p:sp>
      <p:sp>
        <p:nvSpPr>
          <p:cNvPr id="19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446931" y="677054"/>
            <a:ext cx="8887743" cy="31685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Астананың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әне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республикалық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маңызы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бар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лалардың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ЖАО 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өз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ұзыреті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шегінде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:</a:t>
            </a:r>
            <a:endParaRPr lang="ru-RU" alt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pic>
        <p:nvPicPr>
          <p:cNvPr id="2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7430" y="1328167"/>
            <a:ext cx="277616" cy="252000"/>
          </a:xfrm>
          <a:prstGeom prst="rect">
            <a:avLst/>
          </a:prstGeom>
        </p:spPr>
      </p:pic>
      <p:pic>
        <p:nvPicPr>
          <p:cNvPr id="2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906912"/>
            <a:ext cx="277616" cy="252000"/>
          </a:xfrm>
          <a:prstGeom prst="rect">
            <a:avLst/>
          </a:prstGeom>
        </p:spPr>
      </p:pic>
      <p:cxnSp>
        <p:nvCxnSpPr>
          <p:cNvPr id="27" name="Прямая соединительная линия 26"/>
          <p:cNvCxnSpPr/>
          <p:nvPr/>
        </p:nvCxnSpPr>
        <p:spPr>
          <a:xfrm flipV="1">
            <a:off x="518494" y="653200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518494" y="998222"/>
            <a:ext cx="4474320" cy="850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853921" y="4916227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10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pic>
        <p:nvPicPr>
          <p:cNvPr id="33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285897"/>
            <a:ext cx="277616" cy="252000"/>
          </a:xfrm>
          <a:prstGeom prst="rect">
            <a:avLst/>
          </a:prstGeom>
        </p:spPr>
      </p:pic>
      <p:sp>
        <p:nvSpPr>
          <p:cNvPr id="34" name="Прямоугольник 15"/>
          <p:cNvSpPr/>
          <p:nvPr/>
        </p:nvSpPr>
        <p:spPr>
          <a:xfrm>
            <a:off x="362958" y="4077133"/>
            <a:ext cx="86970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50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500" dirty="0">
              <a:latin typeface="Arial" panose="020B0604020202020204"/>
              <a:cs typeface="Arial Narrow" panose="020B0606020202030204"/>
            </a:endParaRPr>
          </a:p>
        </p:txBody>
      </p:sp>
      <p:sp>
        <p:nvSpPr>
          <p:cNvPr id="36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71921" y="638662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2617"/>
          <p:cNvSpPr/>
          <p:nvPr/>
        </p:nvSpPr>
        <p:spPr>
          <a:xfrm>
            <a:off x="158093" y="724273"/>
            <a:ext cx="209550" cy="1761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pic>
        <p:nvPicPr>
          <p:cNvPr id="39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82540" y="3752259"/>
            <a:ext cx="27761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60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59568" y="54405"/>
            <a:ext cx="8794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Ілеспе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заң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жобасы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шеңберінде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ЖАО-</a:t>
            </a:r>
            <a:r>
              <a:rPr lang="ru-RU" altLang="ru-RU" b="1" cap="small" dirty="0" err="1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ға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берілетін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құзыреттер</a:t>
            </a:r>
            <a:endParaRPr lang="ru-RU" alt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sp>
        <p:nvSpPr>
          <p:cNvPr id="20" name="Прямоугольник 15"/>
          <p:cNvSpPr/>
          <p:nvPr/>
        </p:nvSpPr>
        <p:spPr>
          <a:xfrm>
            <a:off x="446931" y="984874"/>
            <a:ext cx="8697069" cy="3901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Іргелес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облыстар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әкімдіктеріні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әулет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рылыс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рылыс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ызме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алас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зыреті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ынала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жатады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: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  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-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уәкілетт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органғ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гломерацияла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умағ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е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учаскелер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өл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егментте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нысанал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қсат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өзгерісте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ойынш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ай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айын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есептерд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ұсын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    -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мағынд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рналасқа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л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кенні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с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оспары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обас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Астана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Республик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ла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әкімдігі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елісуг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енгізу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л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маңы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ймағы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шегінд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үзег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сырылаты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рылыс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ызме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алас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Астана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Республик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ла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әкімдігіні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зыреті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: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   -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мағы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умағынд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олданылат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млекеттік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рылыс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аясат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әзірлеуг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тысу</a:t>
            </a:r>
            <a:endParaRPr lang="ru-RU" sz="135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   -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мағынд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рналасқа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л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кенні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с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оспары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обас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әзірлеуг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тысу</a:t>
            </a:r>
            <a:endParaRPr lang="ru-RU" sz="135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   -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мағынд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рналасқа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л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кенні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с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оспары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обас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л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кенде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халқы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об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ан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қында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халықт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ңбекпе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мт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рындарыме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мтамасыз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т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халықт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уыз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су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ресурстарыме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элект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энергиясыме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мтамасыз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т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өлігінд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келісу</a:t>
            </a:r>
            <a:endParaRPr lang="ru-RU" sz="1350" dirty="0" smtClean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kk-KZ" sz="135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10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Іргелес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удандар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әкімдіктеріні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әулет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рылыс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рылыс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ызме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алас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зыреті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блыс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әкімдігі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агломерация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умағ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е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учаскелер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өл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егментте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нысанал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қсат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өзгерісте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ойынш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ай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айын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септе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беру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атады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22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446931" y="677054"/>
            <a:ext cx="8887743" cy="31685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ҚР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сәулет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,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ла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ұрылысы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әне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ұрылыс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ызметі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туралы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200" b="1" i="1" dirty="0" smtClean="0">
                <a:solidFill>
                  <a:srgbClr val="002060"/>
                </a:solidFill>
                <a:latin typeface="Arial" panose="020B0604020202020204" pitchFamily="34" charset="0"/>
              </a:rPr>
              <a:t>(24, </a:t>
            </a:r>
            <a:r>
              <a:rPr lang="ru-RU" altLang="ru-RU" sz="1200" b="1" i="1" dirty="0">
                <a:solidFill>
                  <a:srgbClr val="002060"/>
                </a:solidFill>
                <a:latin typeface="Arial" panose="020B0604020202020204" pitchFamily="34" charset="0"/>
              </a:rPr>
              <a:t>25-баптар)</a:t>
            </a:r>
            <a:endParaRPr lang="ru-RU" altLang="ru-RU" sz="1050" b="1" i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24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53860" y="666881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95911" y="1054959"/>
            <a:ext cx="277616" cy="252000"/>
          </a:xfrm>
          <a:prstGeom prst="rect">
            <a:avLst/>
          </a:prstGeom>
        </p:spPr>
      </p:pic>
      <p:cxnSp>
        <p:nvCxnSpPr>
          <p:cNvPr id="27" name="Прямая соединительная линия 26"/>
          <p:cNvCxnSpPr/>
          <p:nvPr/>
        </p:nvCxnSpPr>
        <p:spPr>
          <a:xfrm flipV="1">
            <a:off x="518494" y="653200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518494" y="998222"/>
            <a:ext cx="4474320" cy="850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873827" y="4906909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11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pic>
        <p:nvPicPr>
          <p:cNvPr id="34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95911" y="2428292"/>
            <a:ext cx="277616" cy="252000"/>
          </a:xfrm>
          <a:prstGeom prst="rect">
            <a:avLst/>
          </a:prstGeom>
        </p:spPr>
      </p:pic>
      <p:pic>
        <p:nvPicPr>
          <p:cNvPr id="3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101627" y="4199554"/>
            <a:ext cx="277616" cy="252000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>
          <a:xfrm flipH="1">
            <a:off x="234222" y="2315505"/>
            <a:ext cx="8521998" cy="422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 flipH="1">
            <a:off x="259568" y="4065034"/>
            <a:ext cx="8521998" cy="422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hape 2624"/>
          <p:cNvSpPr/>
          <p:nvPr/>
        </p:nvSpPr>
        <p:spPr>
          <a:xfrm>
            <a:off x="139987" y="730708"/>
            <a:ext cx="209550" cy="2095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946464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42398" y="55374"/>
            <a:ext cx="8668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Ілеспе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заң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жобасы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шеңберінде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ЖАО-</a:t>
            </a:r>
            <a:r>
              <a:rPr lang="ru-RU" altLang="ru-RU" b="1" cap="small" dirty="0" err="1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ға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берілетін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құзыреттер</a:t>
            </a:r>
            <a:endParaRPr lang="ru-RU" alt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pic>
        <p:nvPicPr>
          <p:cNvPr id="3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9802" y="2381463"/>
            <a:ext cx="277616" cy="252000"/>
          </a:xfrm>
          <a:prstGeom prst="rect">
            <a:avLst/>
          </a:prstGeom>
        </p:spPr>
      </p:pic>
      <p:sp>
        <p:nvSpPr>
          <p:cNvPr id="32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446931" y="2037660"/>
            <a:ext cx="8887743" cy="31685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ҚР Бюджет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одексі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200" b="1" i="1" dirty="0">
                <a:solidFill>
                  <a:srgbClr val="002060"/>
                </a:solidFill>
                <a:latin typeface="Arial" panose="020B0604020202020204" pitchFamily="34" charset="0"/>
              </a:rPr>
              <a:t>(42, 212-баптар)</a:t>
            </a:r>
            <a:endParaRPr lang="ru-RU" altLang="ru-RU" sz="1100" b="1" i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 flipV="1">
            <a:off x="518494" y="2013806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513306" y="2345015"/>
            <a:ext cx="4474320" cy="850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15"/>
          <p:cNvSpPr/>
          <p:nvPr/>
        </p:nvSpPr>
        <p:spPr>
          <a:xfrm>
            <a:off x="321170" y="2344596"/>
            <a:ext cx="8697069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Астана,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республикалық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ла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юджеттеріні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іргелес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блыстардың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бюджеттерімен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өзара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қарым-қатынасы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i="1" dirty="0">
                <a:latin typeface="Arial" panose="020B0604020202020204"/>
                <a:cs typeface="Arial Narrow" panose="020B0606020202030204"/>
              </a:rPr>
              <a:t>(</a:t>
            </a:r>
            <a:r>
              <a:rPr lang="ru-RU" sz="1350" i="1" dirty="0" err="1">
                <a:latin typeface="Arial" panose="020B0604020202020204"/>
                <a:cs typeface="Arial Narrow" panose="020B0606020202030204"/>
              </a:rPr>
              <a:t>көлденең</a:t>
            </a:r>
            <a:r>
              <a:rPr lang="ru-RU" sz="135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i="1" dirty="0" err="1">
                <a:latin typeface="Arial" panose="020B0604020202020204"/>
                <a:cs typeface="Arial Narrow" panose="020B0606020202030204"/>
              </a:rPr>
              <a:t>трансферттер</a:t>
            </a:r>
            <a:r>
              <a:rPr lang="ru-RU" sz="1350" i="1" dirty="0">
                <a:latin typeface="Arial" panose="020B0604020202020204"/>
                <a:cs typeface="Arial Narrow" panose="020B0606020202030204"/>
              </a:rPr>
              <a:t>) 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1350" dirty="0" smtClean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Қ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заңнам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ктісінд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қындалға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рекш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әртебес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республикалық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/>
            </a:r>
            <a:br>
              <a:rPr lang="ru-RU" sz="1350" dirty="0" smtClean="0">
                <a:latin typeface="Arial" panose="020B0604020202020204"/>
                <a:cs typeface="Arial Narrow" panose="020B0606020202030204"/>
              </a:rPr>
            </a:b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ЖАО-</a:t>
            </a:r>
            <a:r>
              <a:rPr lang="ru-RU" sz="1350" b="1" dirty="0" err="1" smtClean="0">
                <a:latin typeface="Arial" panose="020B0604020202020204"/>
                <a:cs typeface="Arial Narrow" panose="020B0606020202030204"/>
              </a:rPr>
              <a:t>ның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МҚҰ-дан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қарыз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алуы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юджет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тқар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өніндег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рт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уәкілет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орган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елгілеге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тәртіппе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жүзеге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асырылады</a:t>
            </a:r>
            <a:endParaRPr lang="ru-RU" sz="500" b="1" dirty="0" smtClean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300" cap="small" dirty="0" smtClean="0">
              <a:latin typeface="Arial" pitchFamily="34" charset="0"/>
              <a:ea typeface="Tahoma" panose="020B0604030504040204" pitchFamily="34" charset="0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Қ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заңнам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ктісінд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қындалға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рекш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әртебес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республикалық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/>
            </a:r>
            <a:br>
              <a:rPr lang="ru-RU" sz="1350" dirty="0" smtClean="0">
                <a:latin typeface="Arial" panose="020B0604020202020204"/>
                <a:cs typeface="Arial Narrow" panose="020B0606020202030204"/>
              </a:rPr>
            </a:b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ЖАО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сыртқы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мемлекеттік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қарыздарының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шарттар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өлем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нысанал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қсат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юджет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тқар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өніндег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рт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уәкілет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рган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келісімі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бойынша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айқындалады</a:t>
            </a:r>
            <a:endParaRPr lang="ru-RU" sz="1350" b="1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500" dirty="0" smtClean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ҚР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заңнам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ктісінд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қындалға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рекш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әртебес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Республик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/>
            </a:r>
            <a:br>
              <a:rPr lang="ru-RU" sz="1350" dirty="0" smtClean="0">
                <a:latin typeface="Arial" panose="020B0604020202020204"/>
                <a:cs typeface="Arial Narrow" panose="020B0606020202030204"/>
              </a:rPr>
            </a:b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ЖАО-на 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МҚҰ-мен </a:t>
            </a:r>
            <a:r>
              <a:rPr lang="ru-RU" sz="1350" b="1" dirty="0" err="1" smtClean="0">
                <a:latin typeface="Arial" panose="020B0604020202020204"/>
                <a:cs typeface="Arial Narrow" panose="020B0606020202030204"/>
              </a:rPr>
              <a:t>сыртқы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қарыз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алу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шартын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жасасу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рқыл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рыз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л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ЖАО-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ғ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әйкес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елет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орышт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елгіленге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лими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шегінде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жүзеге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асырылады</a:t>
            </a:r>
            <a:endParaRPr lang="ru-RU" sz="1350" b="1" dirty="0">
              <a:latin typeface="Arial" panose="020B0604020202020204"/>
              <a:cs typeface="Arial Narrow" panose="020B0606020202030204"/>
            </a:endParaRPr>
          </a:p>
        </p:txBody>
      </p:sp>
      <p:pic>
        <p:nvPicPr>
          <p:cNvPr id="42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3935" y="3032067"/>
            <a:ext cx="277616" cy="252000"/>
          </a:xfrm>
          <a:prstGeom prst="rect">
            <a:avLst/>
          </a:prstGeom>
        </p:spPr>
      </p:pic>
      <p:pic>
        <p:nvPicPr>
          <p:cNvPr id="43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9802" y="3793200"/>
            <a:ext cx="277616" cy="252000"/>
          </a:xfrm>
          <a:prstGeom prst="rect">
            <a:avLst/>
          </a:prstGeom>
        </p:spPr>
      </p:pic>
      <p:pic>
        <p:nvPicPr>
          <p:cNvPr id="44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3935" y="4501573"/>
            <a:ext cx="277616" cy="252000"/>
          </a:xfrm>
          <a:prstGeom prst="rect">
            <a:avLst/>
          </a:prstGeom>
        </p:spPr>
      </p:pic>
      <p:sp>
        <p:nvSpPr>
          <p:cNvPr id="45" name="Прямоугольник 15"/>
          <p:cNvSpPr/>
          <p:nvPr/>
        </p:nvSpPr>
        <p:spPr>
          <a:xfrm>
            <a:off x="399127" y="1009197"/>
            <a:ext cx="8697069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блыст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ЖАО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зыреті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астана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республик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лард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ергілік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тқаруш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ргандар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ржыландырат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әлеуметтік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көліктік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инженерлік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инфрақұрылым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бъектілер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салу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үш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гломерацияғ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ірет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л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кендерді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умағынд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жер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учаскелерін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резервтеу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latin typeface="Arial" panose="020B0604020202020204"/>
                <a:cs typeface="Arial Narrow" panose="020B0606020202030204"/>
              </a:rPr>
              <a:t>жатады</a:t>
            </a:r>
            <a:endParaRPr lang="ru-RU" sz="1350" b="1" dirty="0">
              <a:latin typeface="Arial" panose="020B0604020202020204"/>
              <a:cs typeface="Arial Narrow" panose="020B0606020202030204"/>
            </a:endParaRPr>
          </a:p>
        </p:txBody>
      </p:sp>
      <p:sp>
        <p:nvSpPr>
          <p:cNvPr id="46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457006" y="666271"/>
            <a:ext cx="8887743" cy="31685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ҚР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ер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одексі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200" b="1" i="1" dirty="0">
                <a:solidFill>
                  <a:srgbClr val="002060"/>
                </a:solidFill>
                <a:latin typeface="Arial" panose="020B0604020202020204" pitchFamily="34" charset="0"/>
              </a:rPr>
              <a:t>(16-бап)</a:t>
            </a: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 flipV="1">
            <a:off x="528569" y="642417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 flipV="1">
            <a:off x="528569" y="997270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8850721" y="4925177"/>
            <a:ext cx="3257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Arial" pitchFamily="34" charset="0"/>
              </a:rPr>
              <a:t>12</a:t>
            </a:r>
            <a:endParaRPr lang="ru-RU" sz="900" dirty="0">
              <a:latin typeface="Arial" pitchFamily="34" charset="0"/>
            </a:endParaRPr>
          </a:p>
        </p:txBody>
      </p:sp>
      <p:sp>
        <p:nvSpPr>
          <p:cNvPr id="50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53860" y="666881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53860" y="1958561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 2946"/>
          <p:cNvSpPr/>
          <p:nvPr/>
        </p:nvSpPr>
        <p:spPr>
          <a:xfrm>
            <a:off x="121469" y="706170"/>
            <a:ext cx="249723" cy="276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595" y="9980"/>
                </a:moveTo>
                <a:cubicBezTo>
                  <a:pt x="19587" y="9894"/>
                  <a:pt x="19575" y="9811"/>
                  <a:pt x="19565" y="9726"/>
                </a:cubicBezTo>
                <a:cubicBezTo>
                  <a:pt x="19542" y="9539"/>
                  <a:pt x="19514" y="9355"/>
                  <a:pt x="19480" y="9172"/>
                </a:cubicBezTo>
                <a:cubicBezTo>
                  <a:pt x="19463" y="9078"/>
                  <a:pt x="19444" y="8986"/>
                  <a:pt x="19424" y="8893"/>
                </a:cubicBezTo>
                <a:cubicBezTo>
                  <a:pt x="19384" y="8712"/>
                  <a:pt x="19337" y="8533"/>
                  <a:pt x="19286" y="8356"/>
                </a:cubicBezTo>
                <a:cubicBezTo>
                  <a:pt x="19263" y="8276"/>
                  <a:pt x="19244" y="8195"/>
                  <a:pt x="19218" y="8116"/>
                </a:cubicBezTo>
                <a:cubicBezTo>
                  <a:pt x="19143" y="7879"/>
                  <a:pt x="19057" y="7646"/>
                  <a:pt x="18963" y="7418"/>
                </a:cubicBezTo>
                <a:cubicBezTo>
                  <a:pt x="18923" y="7321"/>
                  <a:pt x="18876" y="7229"/>
                  <a:pt x="18833" y="7134"/>
                </a:cubicBezTo>
                <a:cubicBezTo>
                  <a:pt x="18771" y="6999"/>
                  <a:pt x="18708" y="6865"/>
                  <a:pt x="18640" y="6734"/>
                </a:cubicBezTo>
                <a:cubicBezTo>
                  <a:pt x="18580" y="6618"/>
                  <a:pt x="18516" y="6504"/>
                  <a:pt x="18450" y="6391"/>
                </a:cubicBezTo>
                <a:cubicBezTo>
                  <a:pt x="18392" y="6291"/>
                  <a:pt x="18331" y="6192"/>
                  <a:pt x="18269" y="6094"/>
                </a:cubicBezTo>
                <a:cubicBezTo>
                  <a:pt x="18192" y="5971"/>
                  <a:pt x="18114" y="5849"/>
                  <a:pt x="18031" y="5731"/>
                </a:cubicBezTo>
                <a:cubicBezTo>
                  <a:pt x="17986" y="5667"/>
                  <a:pt x="17936" y="5605"/>
                  <a:pt x="17889" y="5541"/>
                </a:cubicBezTo>
                <a:cubicBezTo>
                  <a:pt x="17544" y="5080"/>
                  <a:pt x="17159" y="4651"/>
                  <a:pt x="16732" y="4265"/>
                </a:cubicBezTo>
                <a:cubicBezTo>
                  <a:pt x="16705" y="4241"/>
                  <a:pt x="16679" y="4216"/>
                  <a:pt x="16652" y="4192"/>
                </a:cubicBezTo>
                <a:cubicBezTo>
                  <a:pt x="16499" y="4058"/>
                  <a:pt x="16343" y="3927"/>
                  <a:pt x="16181" y="3803"/>
                </a:cubicBezTo>
                <a:cubicBezTo>
                  <a:pt x="16173" y="3796"/>
                  <a:pt x="16165" y="3790"/>
                  <a:pt x="16156" y="3784"/>
                </a:cubicBezTo>
                <a:cubicBezTo>
                  <a:pt x="15459" y="3252"/>
                  <a:pt x="14680" y="2821"/>
                  <a:pt x="13842" y="2513"/>
                </a:cubicBezTo>
                <a:cubicBezTo>
                  <a:pt x="13592" y="2912"/>
                  <a:pt x="13337" y="3420"/>
                  <a:pt x="13040" y="3590"/>
                </a:cubicBezTo>
                <a:cubicBezTo>
                  <a:pt x="12610" y="3835"/>
                  <a:pt x="12641" y="4817"/>
                  <a:pt x="13469" y="4725"/>
                </a:cubicBezTo>
                <a:cubicBezTo>
                  <a:pt x="13469" y="4725"/>
                  <a:pt x="13224" y="4970"/>
                  <a:pt x="13469" y="5860"/>
                </a:cubicBezTo>
                <a:cubicBezTo>
                  <a:pt x="13715" y="6750"/>
                  <a:pt x="14126" y="6943"/>
                  <a:pt x="15341" y="6443"/>
                </a:cubicBezTo>
                <a:cubicBezTo>
                  <a:pt x="15862" y="6228"/>
                  <a:pt x="16258" y="6340"/>
                  <a:pt x="16200" y="6873"/>
                </a:cubicBezTo>
                <a:cubicBezTo>
                  <a:pt x="16077" y="8008"/>
                  <a:pt x="15202" y="7960"/>
                  <a:pt x="15862" y="9788"/>
                </a:cubicBezTo>
                <a:cubicBezTo>
                  <a:pt x="16261" y="10892"/>
                  <a:pt x="17243" y="11322"/>
                  <a:pt x="17611" y="12181"/>
                </a:cubicBezTo>
                <a:cubicBezTo>
                  <a:pt x="17814" y="12653"/>
                  <a:pt x="18591" y="13088"/>
                  <a:pt x="19250" y="13384"/>
                </a:cubicBezTo>
                <a:cubicBezTo>
                  <a:pt x="19321" y="13153"/>
                  <a:pt x="19380" y="12917"/>
                  <a:pt x="19432" y="12677"/>
                </a:cubicBezTo>
                <a:cubicBezTo>
                  <a:pt x="19452" y="12587"/>
                  <a:pt x="19467" y="12494"/>
                  <a:pt x="19484" y="12402"/>
                </a:cubicBezTo>
                <a:cubicBezTo>
                  <a:pt x="19517" y="12224"/>
                  <a:pt x="19545" y="12044"/>
                  <a:pt x="19566" y="11862"/>
                </a:cubicBezTo>
                <a:cubicBezTo>
                  <a:pt x="19576" y="11776"/>
                  <a:pt x="19588" y="11691"/>
                  <a:pt x="19596" y="11604"/>
                </a:cubicBezTo>
                <a:cubicBezTo>
                  <a:pt x="19620" y="11340"/>
                  <a:pt x="19636" y="11072"/>
                  <a:pt x="19636" y="10800"/>
                </a:cubicBezTo>
                <a:cubicBezTo>
                  <a:pt x="19636" y="10523"/>
                  <a:pt x="19620" y="10250"/>
                  <a:pt x="19595" y="998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8407" y="9726"/>
                </a:moveTo>
                <a:cubicBezTo>
                  <a:pt x="8468" y="9020"/>
                  <a:pt x="9603" y="8284"/>
                  <a:pt x="10370" y="7947"/>
                </a:cubicBezTo>
                <a:cubicBezTo>
                  <a:pt x="11137" y="7609"/>
                  <a:pt x="11843" y="7486"/>
                  <a:pt x="11751" y="6903"/>
                </a:cubicBezTo>
                <a:cubicBezTo>
                  <a:pt x="11659" y="6320"/>
                  <a:pt x="11444" y="5891"/>
                  <a:pt x="10248" y="5891"/>
                </a:cubicBezTo>
                <a:cubicBezTo>
                  <a:pt x="9051" y="5891"/>
                  <a:pt x="9573" y="7486"/>
                  <a:pt x="8591" y="6535"/>
                </a:cubicBezTo>
                <a:cubicBezTo>
                  <a:pt x="7609" y="5584"/>
                  <a:pt x="8805" y="5830"/>
                  <a:pt x="9296" y="5615"/>
                </a:cubicBezTo>
                <a:cubicBezTo>
                  <a:pt x="9787" y="5400"/>
                  <a:pt x="10278" y="4510"/>
                  <a:pt x="9419" y="4449"/>
                </a:cubicBezTo>
                <a:cubicBezTo>
                  <a:pt x="8560" y="4388"/>
                  <a:pt x="8744" y="4817"/>
                  <a:pt x="8069" y="4572"/>
                </a:cubicBezTo>
                <a:cubicBezTo>
                  <a:pt x="7394" y="4326"/>
                  <a:pt x="7087" y="5431"/>
                  <a:pt x="6658" y="5277"/>
                </a:cubicBezTo>
                <a:cubicBezTo>
                  <a:pt x="6373" y="5176"/>
                  <a:pt x="5613" y="4605"/>
                  <a:pt x="5110" y="4044"/>
                </a:cubicBezTo>
                <a:cubicBezTo>
                  <a:pt x="4094" y="4900"/>
                  <a:pt x="3277" y="5982"/>
                  <a:pt x="2729" y="7212"/>
                </a:cubicBezTo>
                <a:cubicBezTo>
                  <a:pt x="2875" y="8862"/>
                  <a:pt x="3774" y="9726"/>
                  <a:pt x="3774" y="9726"/>
                </a:cubicBezTo>
                <a:cubicBezTo>
                  <a:pt x="3774" y="9726"/>
                  <a:pt x="4234" y="10800"/>
                  <a:pt x="6995" y="12119"/>
                </a:cubicBezTo>
                <a:cubicBezTo>
                  <a:pt x="6995" y="12119"/>
                  <a:pt x="7517" y="12150"/>
                  <a:pt x="6903" y="11536"/>
                </a:cubicBezTo>
                <a:cubicBezTo>
                  <a:pt x="6290" y="10923"/>
                  <a:pt x="5615" y="10156"/>
                  <a:pt x="6382" y="9757"/>
                </a:cubicBezTo>
                <a:cubicBezTo>
                  <a:pt x="7149" y="9358"/>
                  <a:pt x="7364" y="9389"/>
                  <a:pt x="7548" y="10125"/>
                </a:cubicBezTo>
                <a:cubicBezTo>
                  <a:pt x="7732" y="10861"/>
                  <a:pt x="8345" y="10432"/>
                  <a:pt x="8407" y="9726"/>
                </a:cubicBezTo>
                <a:moveTo>
                  <a:pt x="16246" y="12871"/>
                </a:moveTo>
                <a:cubicBezTo>
                  <a:pt x="15893" y="13086"/>
                  <a:pt x="15908" y="13561"/>
                  <a:pt x="16200" y="13822"/>
                </a:cubicBezTo>
                <a:cubicBezTo>
                  <a:pt x="16491" y="14083"/>
                  <a:pt x="17074" y="14420"/>
                  <a:pt x="17258" y="13822"/>
                </a:cubicBezTo>
                <a:cubicBezTo>
                  <a:pt x="17442" y="13224"/>
                  <a:pt x="16599" y="12656"/>
                  <a:pt x="16246" y="12871"/>
                </a:cubicBezTo>
                <a:moveTo>
                  <a:pt x="12027" y="12948"/>
                </a:moveTo>
                <a:cubicBezTo>
                  <a:pt x="10984" y="12058"/>
                  <a:pt x="11107" y="11659"/>
                  <a:pt x="9787" y="11659"/>
                </a:cubicBezTo>
                <a:cubicBezTo>
                  <a:pt x="8468" y="11659"/>
                  <a:pt x="7640" y="11966"/>
                  <a:pt x="7977" y="13807"/>
                </a:cubicBezTo>
                <a:cubicBezTo>
                  <a:pt x="8315" y="15648"/>
                  <a:pt x="9296" y="14819"/>
                  <a:pt x="9205" y="16231"/>
                </a:cubicBezTo>
                <a:cubicBezTo>
                  <a:pt x="9112" y="17642"/>
                  <a:pt x="9450" y="17949"/>
                  <a:pt x="9665" y="18286"/>
                </a:cubicBezTo>
                <a:cubicBezTo>
                  <a:pt x="9880" y="18624"/>
                  <a:pt x="10524" y="19606"/>
                  <a:pt x="10769" y="18225"/>
                </a:cubicBezTo>
                <a:cubicBezTo>
                  <a:pt x="11015" y="16844"/>
                  <a:pt x="11475" y="16077"/>
                  <a:pt x="11996" y="15402"/>
                </a:cubicBezTo>
                <a:cubicBezTo>
                  <a:pt x="12518" y="14727"/>
                  <a:pt x="13070" y="13837"/>
                  <a:pt x="12027" y="12948"/>
                </a:cubicBezTo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53" name="Shape 2798"/>
          <p:cNvSpPr/>
          <p:nvPr/>
        </p:nvSpPr>
        <p:spPr>
          <a:xfrm>
            <a:off x="112828" y="2072359"/>
            <a:ext cx="259140" cy="1276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765971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365331" y="-971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лматы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қаласы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b="1" cap="small" dirty="0" err="1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әкімдігіне</a:t>
            </a:r>
            <a:r>
              <a:rPr 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ыртқы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арықтардан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қарыз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луға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ұқсаты</a:t>
            </a: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: Rounded Corners 30">
            <a:extLst>
              <a:ext uri="{FF2B5EF4-FFF2-40B4-BE49-F238E27FC236}">
                <a16:creationId xmlns:a16="http://schemas.microsoft.com/office/drawing/2014/main" xmlns="" id="{AFCFA259-E264-4202-81A3-76BCA4F319C4}"/>
              </a:ext>
            </a:extLst>
          </p:cNvPr>
          <p:cNvSpPr/>
          <p:nvPr/>
        </p:nvSpPr>
        <p:spPr>
          <a:xfrm>
            <a:off x="147015" y="681622"/>
            <a:ext cx="8943933" cy="728057"/>
          </a:xfrm>
          <a:prstGeom prst="roundRect">
            <a:avLst>
              <a:gd name="adj" fmla="val 5173"/>
            </a:avLst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ru-RU" sz="1600" dirty="0">
              <a:solidFill>
                <a:prstClr val="white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47022" y="1447062"/>
            <a:ext cx="8996985" cy="331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800" dirty="0">
              <a:latin typeface="Arial" panose="020B0604020202020204"/>
              <a:cs typeface="Arial Narrow" panose="020B0606020202030204"/>
            </a:endParaRPr>
          </a:p>
          <a:p>
            <a:pPr algn="just"/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   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лматы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аласында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en-US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FitchRatings</a:t>
            </a:r>
            <a:r>
              <a:rPr lang="en-US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генттіг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берге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«</a:t>
            </a:r>
            <a:r>
              <a:rPr lang="en-US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BBB</a:t>
            </a:r>
            <a:r>
              <a:rPr lang="kk-KZ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»</a:t>
            </a:r>
            <a:r>
              <a:rPr lang="en-US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рейтинг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бар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л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кредит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білеттіліг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ұза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рзім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ыртқ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ржыландыруғ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ол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еткіз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білет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өрсете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.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лд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ала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редиттік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ағала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ржы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тұрақтылыққ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нұқса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елтірместе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осымш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100-200 млрд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теңг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тарт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үмкіндіг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көрсетеді</a:t>
            </a:r>
            <a:endParaRPr lang="ru-RU" sz="1350" dirty="0" smtClean="0">
              <a:latin typeface="Arial" panose="020B0604020202020204"/>
              <a:cs typeface="Arial Narrow" panose="020B0606020202030204"/>
            </a:endParaRPr>
          </a:p>
          <a:p>
            <a:pPr algn="just"/>
            <a:endParaRPr lang="ru-RU" sz="1000" dirty="0">
              <a:latin typeface="Arial" panose="020B0604020202020204"/>
              <a:cs typeface="Arial Narrow" panose="020B0606020202030204"/>
            </a:endParaRPr>
          </a:p>
          <a:p>
            <a:pPr algn="just"/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Ұзақ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ерзімд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сыртқ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аржыландыру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олданыстағ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аржыландыру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өздері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толықтыра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лад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әсірес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млекеттік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юджетте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ржыландыруғ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әйкес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елмейт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обалар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үш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;</a:t>
            </a:r>
          </a:p>
          <a:p>
            <a:endParaRPr lang="ru-RU" sz="800" dirty="0" smtClean="0">
              <a:latin typeface="Arial" panose="020B0604020202020204"/>
              <a:cs typeface="Arial Narrow" panose="020B0606020202030204"/>
            </a:endParaRPr>
          </a:p>
          <a:p>
            <a:pPr algn="just"/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 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арыз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лу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турал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олданыстағ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заңнама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(Бюджет </a:t>
            </a:r>
            <a:r>
              <a:rPr lang="ru-RU" sz="1200" i="1" dirty="0" err="1">
                <a:latin typeface="Arial" panose="020B0604020202020204"/>
                <a:cs typeface="Arial Narrow" panose="020B0606020202030204"/>
              </a:rPr>
              <a:t>кодексі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)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лматы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ұза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рзім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сыртқ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ржыландыруғ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олжетімділіг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шектей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ұл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лматын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өңірді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асқ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да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мегаполистермен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i="1" dirty="0" smtClean="0">
                <a:latin typeface="Arial" panose="020B0604020202020204"/>
                <a:cs typeface="Arial Narrow" panose="020B0606020202030204"/>
              </a:rPr>
              <a:t>(Стамбул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200" i="1" smtClean="0">
                <a:latin typeface="Arial" panose="020B0604020202020204"/>
                <a:cs typeface="Arial Narrow" panose="020B0606020202030204"/>
              </a:rPr>
              <a:t>Мәскеу)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салыстырғанда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олайсыз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ағдайғ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қояды</a:t>
            </a:r>
            <a:endParaRPr lang="ru-RU" sz="1350" dirty="0" smtClean="0">
              <a:latin typeface="Arial" panose="020B0604020202020204"/>
              <a:cs typeface="Arial Narrow" panose="020B0606020202030204"/>
            </a:endParaRPr>
          </a:p>
          <a:p>
            <a:pPr algn="just"/>
            <a:endParaRPr lang="ru-RU" sz="1350" b="1" dirty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  <a:p>
            <a:pPr algn="just"/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лматы қ.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Сыртқ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арыз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луд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тартаты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рталық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зиядағ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лғашқ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бола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лады</a:t>
            </a:r>
            <a:endParaRPr lang="ru-RU" sz="1350" b="1" dirty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  <a:p>
            <a:pPr algn="just"/>
            <a:endParaRPr lang="kk-KZ" sz="1200" b="1" dirty="0" smtClean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  <a:p>
            <a:pPr algn="just"/>
            <a:endParaRPr lang="ru-RU" sz="800" dirty="0" smtClean="0">
              <a:latin typeface="Arial" panose="020B0604020202020204"/>
              <a:cs typeface="Arial Narrow" panose="020B0606020202030204"/>
            </a:endParaRPr>
          </a:p>
          <a:p>
            <a:pPr algn="just"/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Шарттар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өлем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нысанал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ақсат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рж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инистрлігіні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елісім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ойынш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қындалады</a:t>
            </a:r>
            <a:endParaRPr lang="ru-RU" sz="1350" dirty="0">
              <a:latin typeface="Arial" panose="020B0604020202020204"/>
              <a:cs typeface="Arial Narrow" panose="020B0606020202030204"/>
            </a:endParaRPr>
          </a:p>
        </p:txBody>
      </p:sp>
      <p:pic>
        <p:nvPicPr>
          <p:cNvPr id="2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-12560" y="1639897"/>
            <a:ext cx="277616" cy="252000"/>
          </a:xfrm>
          <a:prstGeom prst="rect">
            <a:avLst/>
          </a:prstGeom>
        </p:spPr>
      </p:pic>
      <p:pic>
        <p:nvPicPr>
          <p:cNvPr id="2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-12560" y="2586876"/>
            <a:ext cx="277616" cy="252000"/>
          </a:xfrm>
          <a:prstGeom prst="rect">
            <a:avLst/>
          </a:prstGeom>
        </p:spPr>
      </p:pic>
      <p:pic>
        <p:nvPicPr>
          <p:cNvPr id="27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-12560" y="3147106"/>
            <a:ext cx="277616" cy="252000"/>
          </a:xfrm>
          <a:prstGeom prst="rect">
            <a:avLst/>
          </a:prstGeom>
        </p:spPr>
      </p:pic>
      <p:pic>
        <p:nvPicPr>
          <p:cNvPr id="28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-12560" y="3959336"/>
            <a:ext cx="277616" cy="252000"/>
          </a:xfrm>
          <a:prstGeom prst="rect">
            <a:avLst/>
          </a:prstGeom>
        </p:spPr>
      </p:pic>
      <p:sp>
        <p:nvSpPr>
          <p:cNvPr id="29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888106" y="4886465"/>
            <a:ext cx="320488" cy="209866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4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en-US" sz="900" dirty="0" smtClean="0">
                <a:latin typeface="Arial" pitchFamily="34" charset="0"/>
                <a:ea typeface="Times New Roman" panose="02020603050405020304" pitchFamily="18" charset="0"/>
              </a:rPr>
              <a:t>13</a:t>
            </a:r>
            <a:endParaRPr lang="ru-RU" sz="9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44356" y="691334"/>
            <a:ext cx="8832210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50" b="1" dirty="0" err="1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ақсат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: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лматыда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ны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гломерациясында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тұрақт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инфрақұрылымд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дамыту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i="1" dirty="0">
                <a:latin typeface="Arial" panose="020B0604020202020204"/>
                <a:cs typeface="Arial Narrow" panose="020B0606020202030204"/>
              </a:rPr>
              <a:t>(</a:t>
            </a:r>
            <a:r>
              <a:rPr lang="ru-RU" sz="1350" i="1" dirty="0" err="1">
                <a:latin typeface="Arial" panose="020B0604020202020204"/>
                <a:cs typeface="Arial Narrow" panose="020B0606020202030204"/>
              </a:rPr>
              <a:t>көліктік</a:t>
            </a:r>
            <a:r>
              <a:rPr lang="ru-RU" sz="1350" i="1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i="1" dirty="0" err="1">
                <a:latin typeface="Arial" panose="020B0604020202020204"/>
                <a:cs typeface="Arial Narrow" panose="020B0606020202030204"/>
              </a:rPr>
              <a:t>коммуналдық</a:t>
            </a:r>
            <a:r>
              <a:rPr lang="ru-RU" sz="1350" i="1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i="1" dirty="0" err="1">
                <a:latin typeface="Arial" panose="020B0604020202020204"/>
                <a:cs typeface="Arial Narrow" panose="020B0606020202030204"/>
              </a:rPr>
              <a:t>әлеуметтік</a:t>
            </a:r>
            <a:r>
              <a:rPr lang="ru-RU" sz="1350" i="1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i="1" dirty="0" err="1">
                <a:latin typeface="Arial" panose="020B0604020202020204"/>
                <a:cs typeface="Arial Narrow" panose="020B0606020202030204"/>
              </a:rPr>
              <a:t>экологиялық</a:t>
            </a:r>
            <a:r>
              <a:rPr lang="ru-RU" sz="1350" i="1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i="1" dirty="0" smtClean="0">
                <a:latin typeface="Arial" panose="020B0604020202020204"/>
                <a:cs typeface="Arial Narrow" panose="020B0606020202030204"/>
              </a:rPr>
              <a:t>«</a:t>
            </a:r>
            <a:r>
              <a:rPr lang="en-US" sz="1350" i="1" dirty="0" smtClean="0">
                <a:latin typeface="Arial" panose="020B0604020202020204"/>
                <a:cs typeface="Arial Narrow" panose="020B0606020202030204"/>
              </a:rPr>
              <a:t>smart</a:t>
            </a:r>
            <a:r>
              <a:rPr lang="kk-KZ" sz="1350" i="1" dirty="0" smtClean="0">
                <a:latin typeface="Arial" panose="020B0604020202020204"/>
                <a:cs typeface="Arial Narrow" panose="020B0606020202030204"/>
              </a:rPr>
              <a:t>»</a:t>
            </a:r>
            <a:r>
              <a:rPr lang="en-US" sz="1350" i="1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i="1" dirty="0" err="1">
                <a:latin typeface="Arial" panose="020B0604020202020204"/>
                <a:cs typeface="Arial Narrow" panose="020B0606020202030204"/>
              </a:rPr>
              <a:t>инфрақұрылымы</a:t>
            </a:r>
            <a:r>
              <a:rPr lang="ru-RU" sz="1350" i="1" dirty="0">
                <a:latin typeface="Arial" panose="020B0604020202020204"/>
                <a:cs typeface="Arial Narrow" panose="020B0606020202030204"/>
              </a:rPr>
              <a:t>),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агломерация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экономикас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пын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елтір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«</a:t>
            </a:r>
            <a:r>
              <a:rPr lang="ru-RU" sz="1350" dirty="0" err="1" smtClean="0">
                <a:latin typeface="Arial" panose="020B0604020202020204"/>
                <a:cs typeface="Arial Narrow" panose="020B0606020202030204"/>
              </a:rPr>
              <a:t>Жасыл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» экономика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өміртек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өш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өлігінд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дамыту</a:t>
            </a:r>
            <a:endParaRPr lang="ru-RU" sz="1350" dirty="0">
              <a:latin typeface="Arial" panose="020B0604020202020204"/>
              <a:cs typeface="Arial Narrow" panose="020B0606020202030204"/>
            </a:endParaRPr>
          </a:p>
        </p:txBody>
      </p:sp>
      <p:pic>
        <p:nvPicPr>
          <p:cNvPr id="3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-9880" y="4446910"/>
            <a:ext cx="27761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644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1">
            <a:extLst>
              <a:ext uri="{FF2B5EF4-FFF2-40B4-BE49-F238E27FC236}">
                <a16:creationId xmlns:a16="http://schemas.microsoft.com/office/drawing/2014/main" xmlns="" id="{0369BC68-6B08-483F-BF84-D98259AC5806}"/>
              </a:ext>
            </a:extLst>
          </p:cNvPr>
          <p:cNvSpPr txBox="1">
            <a:spLocks/>
          </p:cNvSpPr>
          <p:nvPr/>
        </p:nvSpPr>
        <p:spPr>
          <a:xfrm>
            <a:off x="0" y="71420"/>
            <a:ext cx="9144000" cy="538148"/>
          </a:xfrm>
          <a:prstGeom prst="rect">
            <a:avLst/>
          </a:prstGeom>
        </p:spPr>
        <p:txBody>
          <a:bodyPr anchor="ctr"/>
          <a:lstStyle>
            <a:lvl1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defTabSz="914355"/>
            <a:r>
              <a:rPr lang="ru-RU" sz="18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гі</a:t>
            </a:r>
            <a:r>
              <a:rPr lang="ru-RU" sz="18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намалық</a:t>
            </a:r>
            <a:r>
              <a:rPr lang="ru-RU" sz="18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ілерді</a:t>
            </a:r>
            <a:r>
              <a:rPr lang="ru-RU" sz="18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тікке</a:t>
            </a:r>
            <a:r>
              <a:rPr lang="ru-RU" sz="18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тіру</a:t>
            </a:r>
            <a:r>
              <a:rPr lang="ru-RU" sz="18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23" name="Заголовок 16"/>
          <p:cNvSpPr txBox="1">
            <a:spLocks/>
          </p:cNvSpPr>
          <p:nvPr/>
        </p:nvSpPr>
        <p:spPr>
          <a:xfrm>
            <a:off x="687185" y="1420964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smtClean="0">
                <a:latin typeface="Arial" panose="020B0604020202020204" pitchFamily="34" charset="0"/>
                <a:cs typeface="Arial" panose="020B0604020202020204" pitchFamily="34" charset="0"/>
              </a:rPr>
              <a:t>ҚР Бюджет кодексі</a:t>
            </a:r>
            <a:endParaRPr lang="ru-R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Straight Connector 32">
            <a:extLst>
              <a:ext uri="{FF2B5EF4-FFF2-40B4-BE49-F238E27FC236}">
                <a16:creationId xmlns:a16="http://schemas.microsoft.com/office/drawing/2014/main" xmlns="" id="{6C0B85D7-80A1-4B3A-96B4-E30488937587}"/>
              </a:ext>
            </a:extLst>
          </p:cNvPr>
          <p:cNvCxnSpPr/>
          <p:nvPr/>
        </p:nvCxnSpPr>
        <p:spPr>
          <a:xfrm flipV="1">
            <a:off x="0" y="596393"/>
            <a:ext cx="9144000" cy="2635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02264" y="4903973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kk-KZ" sz="800" dirty="0" smtClean="0">
                <a:latin typeface="Arial" pitchFamily="34" charset="0"/>
                <a:ea typeface="Times New Roman" panose="02020603050405020304" pitchFamily="18" charset="0"/>
              </a:rPr>
              <a:t>14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26" name="Заголовок 16"/>
          <p:cNvSpPr txBox="1">
            <a:spLocks/>
          </p:cNvSpPr>
          <p:nvPr/>
        </p:nvSpPr>
        <p:spPr>
          <a:xfrm>
            <a:off x="687185" y="1067487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одексі</a:t>
            </a:r>
            <a:endParaRPr lang="ru-RU" sz="14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98948" y="640115"/>
            <a:ext cx="130035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u="sng" kern="0" dirty="0">
                <a:solidFill>
                  <a:srgbClr val="00B050"/>
                </a:solidFill>
                <a:latin typeface="Arial" panose="020B0604020202020204" pitchFamily="34" charset="0"/>
                <a:ea typeface="+mj-ea"/>
                <a:sym typeface="Arial"/>
              </a:rPr>
              <a:t>2</a:t>
            </a:r>
            <a:r>
              <a:rPr lang="ru-RU" b="1" u="sng" kern="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sym typeface="Arial"/>
              </a:rPr>
              <a:t> </a:t>
            </a:r>
            <a:r>
              <a:rPr lang="ru-RU" sz="1600" b="1" u="sng" kern="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sym typeface="Arial"/>
              </a:rPr>
              <a:t>КОДЕКС:</a:t>
            </a:r>
            <a:endParaRPr lang="ru-RU" b="1" u="sng" kern="0" dirty="0">
              <a:solidFill>
                <a:srgbClr val="002060"/>
              </a:solidFill>
              <a:latin typeface="Arial" panose="020B0604020202020204" pitchFamily="34" charset="0"/>
              <a:ea typeface="+mj-ea"/>
              <a:sym typeface="Arial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95280" y="2068991"/>
            <a:ext cx="88357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u="sng" kern="0" dirty="0">
                <a:solidFill>
                  <a:srgbClr val="00B050"/>
                </a:solidFill>
                <a:latin typeface="Arial" panose="020B0604020202020204" pitchFamily="34" charset="0"/>
                <a:sym typeface="Arial"/>
              </a:rPr>
              <a:t>5</a:t>
            </a:r>
            <a:r>
              <a:rPr lang="ru-RU" b="1" u="sng" kern="0" dirty="0">
                <a:solidFill>
                  <a:srgbClr val="002060"/>
                </a:solidFill>
                <a:latin typeface="Arial" panose="020B0604020202020204" pitchFamily="34" charset="0"/>
                <a:sym typeface="Arial"/>
              </a:rPr>
              <a:t> </a:t>
            </a:r>
            <a:r>
              <a:rPr lang="ru-RU" sz="1600" b="1" u="sng" kern="0" dirty="0" smtClean="0">
                <a:solidFill>
                  <a:srgbClr val="002060"/>
                </a:solidFill>
                <a:latin typeface="Arial" panose="020B0604020202020204" pitchFamily="34" charset="0"/>
                <a:sym typeface="Arial"/>
              </a:rPr>
              <a:t>ЗАҢ:</a:t>
            </a:r>
            <a:endParaRPr lang="ru-RU" b="1" u="sng" kern="0" dirty="0">
              <a:solidFill>
                <a:srgbClr val="002060"/>
              </a:solidFill>
              <a:latin typeface="Arial" panose="020B0604020202020204" pitchFamily="34" charset="0"/>
              <a:sym typeface="Arial"/>
            </a:endParaRPr>
          </a:p>
        </p:txBody>
      </p:sp>
      <p:sp>
        <p:nvSpPr>
          <p:cNvPr id="31" name="Заголовок 16"/>
          <p:cNvSpPr txBox="1">
            <a:spLocks/>
          </p:cNvSpPr>
          <p:nvPr/>
        </p:nvSpPr>
        <p:spPr>
          <a:xfrm>
            <a:off x="687185" y="2604177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ҚР-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дағы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сәулет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қала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endParaRPr lang="ru-R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Заголовок 16"/>
          <p:cNvSpPr txBox="1">
            <a:spLocks/>
          </p:cNvSpPr>
          <p:nvPr/>
        </p:nvSpPr>
        <p:spPr>
          <a:xfrm>
            <a:off x="687185" y="2969399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Қоғамдық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кеңестер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endParaRPr lang="ru-R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Заголовок 16"/>
          <p:cNvSpPr txBox="1">
            <a:spLocks/>
          </p:cNvSpPr>
          <p:nvPr/>
        </p:nvSpPr>
        <p:spPr>
          <a:xfrm>
            <a:off x="700656" y="3389939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-жекешелік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әріптестік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endParaRPr lang="ru-R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Заголовок 16"/>
          <p:cNvSpPr txBox="1">
            <a:spLocks/>
          </p:cNvSpPr>
          <p:nvPr/>
        </p:nvSpPr>
        <p:spPr>
          <a:xfrm>
            <a:off x="700656" y="3832420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стананың</a:t>
            </a:r>
            <a:r>
              <a:rPr lang="ru-RU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мәртебесі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endParaRPr lang="ru-R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Заголовок 16"/>
          <p:cNvSpPr txBox="1">
            <a:spLocks/>
          </p:cNvSpPr>
          <p:nvPr/>
        </p:nvSpPr>
        <p:spPr>
          <a:xfrm>
            <a:off x="714819" y="4268728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Алматы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қаласының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ерекше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мәртебесі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endParaRPr lang="ru-R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69037" y="1113634"/>
            <a:ext cx="277616" cy="252000"/>
          </a:xfrm>
          <a:prstGeom prst="rect">
            <a:avLst/>
          </a:prstGeom>
        </p:spPr>
      </p:pic>
      <p:pic>
        <p:nvPicPr>
          <p:cNvPr id="5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92212" y="1465339"/>
            <a:ext cx="277616" cy="252000"/>
          </a:xfrm>
          <a:prstGeom prst="rect">
            <a:avLst/>
          </a:prstGeom>
        </p:spPr>
      </p:pic>
      <p:pic>
        <p:nvPicPr>
          <p:cNvPr id="5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92212" y="2656190"/>
            <a:ext cx="277616" cy="252000"/>
          </a:xfrm>
          <a:prstGeom prst="rect">
            <a:avLst/>
          </a:prstGeom>
        </p:spPr>
      </p:pic>
      <p:pic>
        <p:nvPicPr>
          <p:cNvPr id="52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98211" y="3018228"/>
            <a:ext cx="277616" cy="252000"/>
          </a:xfrm>
          <a:prstGeom prst="rect">
            <a:avLst/>
          </a:prstGeom>
        </p:spPr>
      </p:pic>
      <p:pic>
        <p:nvPicPr>
          <p:cNvPr id="53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319846" y="4309339"/>
            <a:ext cx="277616" cy="252000"/>
          </a:xfrm>
          <a:prstGeom prst="rect">
            <a:avLst/>
          </a:prstGeom>
        </p:spPr>
      </p:pic>
      <p:pic>
        <p:nvPicPr>
          <p:cNvPr id="54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319846" y="3874850"/>
            <a:ext cx="277616" cy="252000"/>
          </a:xfrm>
          <a:prstGeom prst="rect">
            <a:avLst/>
          </a:prstGeom>
        </p:spPr>
      </p:pic>
      <p:pic>
        <p:nvPicPr>
          <p:cNvPr id="5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306375" y="3448639"/>
            <a:ext cx="27761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725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814996" y="2116477"/>
            <a:ext cx="6767333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683237" y="2386352"/>
            <a:ext cx="8229601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r>
              <a:rPr lang="ru-RU" sz="2800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азар </a:t>
            </a:r>
            <a:r>
              <a:rPr lang="ru-RU" sz="2800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ударғандарыңыз</a:t>
            </a:r>
            <a:r>
              <a:rPr lang="ru-RU" sz="2800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800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үшін</a:t>
            </a:r>
            <a:r>
              <a:rPr lang="ru-RU" sz="2800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800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ахмет</a:t>
            </a:r>
            <a:r>
              <a:rPr lang="ru-RU" sz="2800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! </a:t>
            </a:r>
            <a:endParaRPr lang="ru-RU" sz="2800" b="1" cap="small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135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86">
            <a:extLst>
              <a:ext uri="{FF2B5EF4-FFF2-40B4-BE49-F238E27FC236}">
                <a16:creationId xmlns:a16="http://schemas.microsoft.com/office/drawing/2014/main" xmlns="" id="{787FDF3E-28E4-42A8-9CD3-41238AE9C42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744802"/>
            <a:ext cx="9144000" cy="659097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67" lvl="1" defTabSz="1015934">
              <a:defRPr/>
            </a:pPr>
            <a:endParaRPr lang="en-US" sz="1667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cxnSp>
        <p:nvCxnSpPr>
          <p:cNvPr id="8" name="Straight Connector 32">
            <a:extLst>
              <a:ext uri="{FF2B5EF4-FFF2-40B4-BE49-F238E27FC236}">
                <a16:creationId xmlns:a16="http://schemas.microsoft.com/office/drawing/2014/main" xmlns="" id="{C4E1F449-A720-4745-8102-E905086E995E}"/>
              </a:ext>
            </a:extLst>
          </p:cNvPr>
          <p:cNvCxnSpPr/>
          <p:nvPr/>
        </p:nvCxnSpPr>
        <p:spPr>
          <a:xfrm>
            <a:off x="0" y="615221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ятиугольник 3">
            <a:extLst>
              <a:ext uri="{FF2B5EF4-FFF2-40B4-BE49-F238E27FC236}">
                <a16:creationId xmlns:a16="http://schemas.microsoft.com/office/drawing/2014/main" xmlns="" id="{2EC9F41E-FC8E-46E3-BBCA-600578151C05}"/>
              </a:ext>
            </a:extLst>
          </p:cNvPr>
          <p:cNvSpPr/>
          <p:nvPr/>
        </p:nvSpPr>
        <p:spPr>
          <a:xfrm>
            <a:off x="485861" y="905535"/>
            <a:ext cx="575295" cy="358338"/>
          </a:xfrm>
          <a:prstGeom prst="homePlate">
            <a:avLst>
              <a:gd name="adj" fmla="val 26596"/>
            </a:avLst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2" name="Oval 118">
            <a:extLst>
              <a:ext uri="{FF2B5EF4-FFF2-40B4-BE49-F238E27FC236}">
                <a16:creationId xmlns:a16="http://schemas.microsoft.com/office/drawing/2014/main" xmlns="" id="{B102C385-46E9-486B-A14A-A3B7C643DB43}"/>
              </a:ext>
            </a:extLst>
          </p:cNvPr>
          <p:cNvSpPr/>
          <p:nvPr/>
        </p:nvSpPr>
        <p:spPr>
          <a:xfrm>
            <a:off x="158661" y="782443"/>
            <a:ext cx="592080" cy="59600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cxnSp>
        <p:nvCxnSpPr>
          <p:cNvPr id="52" name="Прямая соединительная линия 303">
            <a:extLst>
              <a:ext uri="{FF2B5EF4-FFF2-40B4-BE49-F238E27FC236}">
                <a16:creationId xmlns:a16="http://schemas.microsoft.com/office/drawing/2014/main" xmlns="" id="{5488EFDB-D9C0-4A9E-9D2B-821DCD515CE3}"/>
              </a:ext>
            </a:extLst>
          </p:cNvPr>
          <p:cNvCxnSpPr>
            <a:cxnSpLocks/>
          </p:cNvCxnSpPr>
          <p:nvPr/>
        </p:nvCxnSpPr>
        <p:spPr>
          <a:xfrm flipH="1">
            <a:off x="2" y="731612"/>
            <a:ext cx="9143997" cy="0"/>
          </a:xfrm>
          <a:prstGeom prst="line">
            <a:avLst/>
          </a:prstGeom>
          <a:ln w="1905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303">
            <a:extLst>
              <a:ext uri="{FF2B5EF4-FFF2-40B4-BE49-F238E27FC236}">
                <a16:creationId xmlns:a16="http://schemas.microsoft.com/office/drawing/2014/main" xmlns="" id="{B56C9A56-A973-4545-AF7F-53274F97207F}"/>
              </a:ext>
            </a:extLst>
          </p:cNvPr>
          <p:cNvCxnSpPr>
            <a:cxnSpLocks/>
          </p:cNvCxnSpPr>
          <p:nvPr/>
        </p:nvCxnSpPr>
        <p:spPr>
          <a:xfrm flipH="1">
            <a:off x="1362513" y="1395948"/>
            <a:ext cx="7786008" cy="0"/>
          </a:xfrm>
          <a:prstGeom prst="line">
            <a:avLst/>
          </a:prstGeom>
          <a:ln w="9525"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294482" y="46788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/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Заң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жобаларын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әзірлеудің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алғышарттары</a:t>
            </a: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86">
            <a:extLst>
              <a:ext uri="{FF2B5EF4-FFF2-40B4-BE49-F238E27FC236}">
                <a16:creationId xmlns:a16="http://schemas.microsoft.com/office/drawing/2014/main" xmlns="" id="{787FDF3E-28E4-42A8-9CD3-41238AE9C42E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1523276"/>
            <a:ext cx="9144000" cy="661972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67" lvl="1" defTabSz="1015934">
              <a:defRPr/>
            </a:pPr>
            <a:endParaRPr lang="en-US" sz="1667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cxnSp>
        <p:nvCxnSpPr>
          <p:cNvPr id="23" name="Прямая соединительная линия 303">
            <a:extLst>
              <a:ext uri="{FF2B5EF4-FFF2-40B4-BE49-F238E27FC236}">
                <a16:creationId xmlns:a16="http://schemas.microsoft.com/office/drawing/2014/main" xmlns="" id="{5488EFDB-D9C0-4A9E-9D2B-821DCD515CE3}"/>
              </a:ext>
            </a:extLst>
          </p:cNvPr>
          <p:cNvCxnSpPr>
            <a:cxnSpLocks/>
          </p:cNvCxnSpPr>
          <p:nvPr/>
        </p:nvCxnSpPr>
        <p:spPr>
          <a:xfrm flipH="1">
            <a:off x="0" y="1532644"/>
            <a:ext cx="9143997" cy="0"/>
          </a:xfrm>
          <a:prstGeom prst="line">
            <a:avLst/>
          </a:prstGeom>
          <a:ln w="1905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303">
            <a:extLst>
              <a:ext uri="{FF2B5EF4-FFF2-40B4-BE49-F238E27FC236}">
                <a16:creationId xmlns:a16="http://schemas.microsoft.com/office/drawing/2014/main" xmlns="" id="{B56C9A56-A973-4545-AF7F-53274F97207F}"/>
              </a:ext>
            </a:extLst>
          </p:cNvPr>
          <p:cNvCxnSpPr>
            <a:cxnSpLocks/>
          </p:cNvCxnSpPr>
          <p:nvPr/>
        </p:nvCxnSpPr>
        <p:spPr>
          <a:xfrm flipH="1">
            <a:off x="1362513" y="2175140"/>
            <a:ext cx="7786008" cy="0"/>
          </a:xfrm>
          <a:prstGeom prst="line">
            <a:avLst/>
          </a:prstGeom>
          <a:ln w="9525"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ятиугольник 3">
            <a:extLst>
              <a:ext uri="{FF2B5EF4-FFF2-40B4-BE49-F238E27FC236}">
                <a16:creationId xmlns:a16="http://schemas.microsoft.com/office/drawing/2014/main" xmlns="" id="{2EC9F41E-FC8E-46E3-BBCA-600578151C05}"/>
              </a:ext>
            </a:extLst>
          </p:cNvPr>
          <p:cNvSpPr/>
          <p:nvPr/>
        </p:nvSpPr>
        <p:spPr>
          <a:xfrm>
            <a:off x="558749" y="1674979"/>
            <a:ext cx="502408" cy="358338"/>
          </a:xfrm>
          <a:prstGeom prst="homePlate">
            <a:avLst>
              <a:gd name="adj" fmla="val 26596"/>
            </a:avLst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7" name="Oval 118">
            <a:extLst>
              <a:ext uri="{FF2B5EF4-FFF2-40B4-BE49-F238E27FC236}">
                <a16:creationId xmlns:a16="http://schemas.microsoft.com/office/drawing/2014/main" xmlns="" id="{B102C385-46E9-486B-A14A-A3B7C643DB43}"/>
              </a:ext>
            </a:extLst>
          </p:cNvPr>
          <p:cNvSpPr/>
          <p:nvPr/>
        </p:nvSpPr>
        <p:spPr>
          <a:xfrm>
            <a:off x="158661" y="1555891"/>
            <a:ext cx="592080" cy="59600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33" name="Rectangle 286">
            <a:extLst>
              <a:ext uri="{FF2B5EF4-FFF2-40B4-BE49-F238E27FC236}">
                <a16:creationId xmlns:a16="http://schemas.microsoft.com/office/drawing/2014/main" xmlns="" id="{787FDF3E-28E4-42A8-9CD3-41238AE9C42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-3" y="2303886"/>
            <a:ext cx="9144000" cy="661972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67" lvl="1" defTabSz="1015934">
              <a:defRPr/>
            </a:pPr>
            <a:endParaRPr lang="en-US" sz="1667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cxnSp>
        <p:nvCxnSpPr>
          <p:cNvPr id="34" name="Прямая соединительная линия 303">
            <a:extLst>
              <a:ext uri="{FF2B5EF4-FFF2-40B4-BE49-F238E27FC236}">
                <a16:creationId xmlns:a16="http://schemas.microsoft.com/office/drawing/2014/main" xmlns="" id="{B56C9A56-A973-4545-AF7F-53274F97207F}"/>
              </a:ext>
            </a:extLst>
          </p:cNvPr>
          <p:cNvCxnSpPr>
            <a:cxnSpLocks/>
          </p:cNvCxnSpPr>
          <p:nvPr/>
        </p:nvCxnSpPr>
        <p:spPr>
          <a:xfrm flipH="1">
            <a:off x="1357989" y="2947763"/>
            <a:ext cx="7786008" cy="0"/>
          </a:xfrm>
          <a:prstGeom prst="line">
            <a:avLst/>
          </a:prstGeom>
          <a:ln w="9525"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03">
            <a:extLst>
              <a:ext uri="{FF2B5EF4-FFF2-40B4-BE49-F238E27FC236}">
                <a16:creationId xmlns:a16="http://schemas.microsoft.com/office/drawing/2014/main" xmlns="" id="{5488EFDB-D9C0-4A9E-9D2B-821DCD515CE3}"/>
              </a:ext>
            </a:extLst>
          </p:cNvPr>
          <p:cNvCxnSpPr>
            <a:cxnSpLocks/>
          </p:cNvCxnSpPr>
          <p:nvPr/>
        </p:nvCxnSpPr>
        <p:spPr>
          <a:xfrm flipH="1">
            <a:off x="3" y="2303253"/>
            <a:ext cx="9143997" cy="0"/>
          </a:xfrm>
          <a:prstGeom prst="line">
            <a:avLst/>
          </a:prstGeom>
          <a:ln w="1905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ятиугольник 3">
            <a:extLst>
              <a:ext uri="{FF2B5EF4-FFF2-40B4-BE49-F238E27FC236}">
                <a16:creationId xmlns:a16="http://schemas.microsoft.com/office/drawing/2014/main" xmlns="" id="{2EC9F41E-FC8E-46E3-BBCA-600578151C05}"/>
              </a:ext>
            </a:extLst>
          </p:cNvPr>
          <p:cNvSpPr/>
          <p:nvPr/>
        </p:nvSpPr>
        <p:spPr>
          <a:xfrm>
            <a:off x="473590" y="2455703"/>
            <a:ext cx="587565" cy="358338"/>
          </a:xfrm>
          <a:prstGeom prst="homePlate">
            <a:avLst>
              <a:gd name="adj" fmla="val 26596"/>
            </a:avLst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6" name="Oval 118">
            <a:extLst>
              <a:ext uri="{FF2B5EF4-FFF2-40B4-BE49-F238E27FC236}">
                <a16:creationId xmlns:a16="http://schemas.microsoft.com/office/drawing/2014/main" xmlns="" id="{B102C385-46E9-486B-A14A-A3B7C643DB43}"/>
              </a:ext>
            </a:extLst>
          </p:cNvPr>
          <p:cNvSpPr/>
          <p:nvPr/>
        </p:nvSpPr>
        <p:spPr>
          <a:xfrm>
            <a:off x="158661" y="2336871"/>
            <a:ext cx="592080" cy="59600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2600" y="918166"/>
            <a:ext cx="4071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</a:rPr>
              <a:t>I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83888" y="879101"/>
            <a:ext cx="806941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0" algn="ctr">
              <a:spcAft>
                <a:spcPts val="0"/>
              </a:spcAft>
              <a:buClr>
                <a:srgbClr val="5B9BD5">
                  <a:lumMod val="75000"/>
                </a:srgbClr>
              </a:buClr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Агломерация </a:t>
            </a:r>
            <a:r>
              <a:rPr lang="ru-RU" altLang="ru-RU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орталықтары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мен </a:t>
            </a:r>
            <a:r>
              <a:rPr lang="ru-RU" altLang="ru-RU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олардың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қала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маңындағы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аймақтарын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дамытудағы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теңгерімсіздіктерді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күшейту</a:t>
            </a:r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76185" y="1573635"/>
            <a:ext cx="826133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0" algn="ctr">
              <a:spcAft>
                <a:spcPts val="0"/>
              </a:spcAft>
              <a:buClr>
                <a:srgbClr val="5B9BD5">
                  <a:lumMod val="75000"/>
                </a:srgbClr>
              </a:buClr>
              <a:defRPr/>
            </a:pP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ржыландыру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рналарын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" panose="020B0604020202020204" pitchFamily="34" charset="0"/>
              </a:rPr>
              <a:t>жеткіліксіздігі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1400" i="1" dirty="0">
                <a:solidFill>
                  <a:prstClr val="black"/>
                </a:solidFill>
                <a:latin typeface="Arial" panose="020B0604020202020204" pitchFamily="34" charset="0"/>
              </a:rPr>
              <a:t>(</a:t>
            </a:r>
            <a:r>
              <a:rPr lang="ru-RU" sz="1400" i="1" dirty="0" err="1">
                <a:solidFill>
                  <a:prstClr val="black"/>
                </a:solidFill>
                <a:latin typeface="Arial" panose="020B0604020202020204" pitchFamily="34" charset="0"/>
              </a:rPr>
              <a:t>бір</a:t>
            </a:r>
            <a:r>
              <a:rPr lang="ru-RU" sz="1400" i="1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prstClr val="black"/>
                </a:solidFill>
                <a:latin typeface="Arial" panose="020B0604020202020204" pitchFamily="34" charset="0"/>
              </a:rPr>
              <a:t>деңгейдегі</a:t>
            </a:r>
            <a:r>
              <a:rPr lang="ru-RU" sz="1400" i="1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prstClr val="black"/>
                </a:solidFill>
                <a:latin typeface="Arial" panose="020B0604020202020204" pitchFamily="34" charset="0"/>
              </a:rPr>
              <a:t>бюджеттердің</a:t>
            </a:r>
            <a:r>
              <a:rPr lang="ru-RU" sz="1400" i="1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prstClr val="black"/>
                </a:solidFill>
                <a:latin typeface="Arial" panose="020B0604020202020204" pitchFamily="34" charset="0"/>
              </a:rPr>
              <a:t>өзара</a:t>
            </a:r>
            <a:r>
              <a:rPr lang="ru-RU" sz="1400" i="1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prstClr val="black"/>
                </a:solidFill>
                <a:latin typeface="Arial" panose="020B0604020202020204" pitchFamily="34" charset="0"/>
              </a:rPr>
              <a:t>қатынастарына</a:t>
            </a:r>
            <a:r>
              <a:rPr lang="ru-RU" sz="1400" i="1" dirty="0">
                <a:solidFill>
                  <a:prstClr val="black"/>
                </a:solidFill>
                <a:latin typeface="Arial" panose="020B0604020202020204" pitchFamily="34" charset="0"/>
              </a:rPr>
              <a:t>, </a:t>
            </a:r>
            <a:r>
              <a:rPr lang="ru-RU" sz="1400" i="1" dirty="0" err="1">
                <a:solidFill>
                  <a:prstClr val="black"/>
                </a:solidFill>
                <a:latin typeface="Arial" panose="020B0604020202020204" pitchFamily="34" charset="0"/>
              </a:rPr>
              <a:t>қарыз</a:t>
            </a:r>
            <a:r>
              <a:rPr lang="ru-RU" sz="1400" i="1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prstClr val="black"/>
                </a:solidFill>
                <a:latin typeface="Arial" panose="020B0604020202020204" pitchFamily="34" charset="0"/>
              </a:rPr>
              <a:t>алуға</a:t>
            </a:r>
            <a:r>
              <a:rPr lang="ru-RU" sz="1400" i="1" dirty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prstClr val="black"/>
                </a:solidFill>
                <a:latin typeface="Arial" panose="020B0604020202020204" pitchFamily="34" charset="0"/>
              </a:rPr>
              <a:t>тыйым</a:t>
            </a:r>
            <a:r>
              <a:rPr lang="ru-RU" sz="1400" i="1" dirty="0">
                <a:solidFill>
                  <a:prstClr val="black"/>
                </a:solidFill>
                <a:latin typeface="Arial" panose="020B0604020202020204" pitchFamily="34" charset="0"/>
              </a:rPr>
              <a:t> салу </a:t>
            </a:r>
            <a:r>
              <a:rPr lang="ru-RU" sz="1400" i="1" dirty="0" err="1">
                <a:solidFill>
                  <a:prstClr val="black"/>
                </a:solidFill>
                <a:latin typeface="Arial" panose="020B0604020202020204" pitchFamily="34" charset="0"/>
              </a:rPr>
              <a:t>және</a:t>
            </a:r>
            <a:r>
              <a:rPr lang="ru-RU" sz="1400" i="1" dirty="0">
                <a:solidFill>
                  <a:prstClr val="black"/>
                </a:solidFill>
                <a:latin typeface="Arial" panose="020B0604020202020204" pitchFamily="34" charset="0"/>
              </a:rPr>
              <a:t> т. б.)</a:t>
            </a:r>
            <a:endParaRPr lang="ru-RU" sz="1200" i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6617B203-DC47-485A-9B5E-863B69AA2A24}"/>
              </a:ext>
            </a:extLst>
          </p:cNvPr>
          <p:cNvSpPr txBox="1"/>
          <p:nvPr/>
        </p:nvSpPr>
        <p:spPr>
          <a:xfrm>
            <a:off x="1357989" y="2380170"/>
            <a:ext cx="7775868" cy="15542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n-US" altLang="ru-RU" sz="15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агломерациялардың</a:t>
            </a:r>
            <a:r>
              <a:rPr lang="ru-RU" altLang="ru-RU" sz="1500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дамуын</a:t>
            </a:r>
            <a:r>
              <a:rPr lang="ru-RU" altLang="ru-RU" sz="1500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реттейтін</a:t>
            </a:r>
            <a:r>
              <a:rPr lang="ru-RU" altLang="ru-RU" sz="1500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нормативтік</a:t>
            </a:r>
            <a:r>
              <a:rPr lang="ru-RU" altLang="ru-RU" sz="1500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құқықтық</a:t>
            </a:r>
            <a:r>
              <a:rPr lang="ru-RU" altLang="ru-RU" sz="1500" dirty="0">
                <a:latin typeface="Arial" panose="020B0604020202020204" pitchFamily="34" charset="0"/>
                <a:ea typeface="ＭＳ Ｐゴシック" panose="020B0600070205080204" pitchFamily="34" charset="-128"/>
              </a:rPr>
              <a:t> база мен </a:t>
            </a:r>
            <a:r>
              <a:rPr lang="ru-RU" altLang="ru-RU" sz="15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ұйымдастырушылық</a:t>
            </a:r>
            <a:r>
              <a:rPr lang="ru-RU" altLang="ru-RU" sz="1500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шарттардың</a:t>
            </a:r>
            <a:r>
              <a:rPr lang="ru-RU" altLang="ru-RU" sz="15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(«</a:t>
            </a:r>
            <a:r>
              <a:rPr lang="ru-RU" altLang="ru-RU" sz="15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нақты</a:t>
            </a:r>
            <a:r>
              <a:rPr lang="ru-RU" altLang="ru-RU" sz="15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ережелердің</a:t>
            </a:r>
            <a:r>
              <a:rPr lang="ru-RU" altLang="ru-RU" sz="15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») </a:t>
            </a:r>
          </a:p>
          <a:p>
            <a:pPr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endParaRPr lang="en-US" altLang="ru-RU" sz="5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lvl="0"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n-US" sz="15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</a:rPr>
              <a:t>агломерацияларды</a:t>
            </a:r>
            <a:r>
              <a:rPr lang="ru-RU" sz="1500" dirty="0">
                <a:latin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</a:rPr>
              <a:t>дамытудың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бірыңғай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саясаты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</a:rPr>
              <a:t>және</a:t>
            </a:r>
            <a:r>
              <a:rPr lang="ru-RU" sz="1500" dirty="0">
                <a:latin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</a:rPr>
              <a:t>орталық</a:t>
            </a:r>
            <a:r>
              <a:rPr lang="ru-RU" sz="1500" dirty="0">
                <a:latin typeface="Arial" panose="020B0604020202020204" pitchFamily="34" charset="0"/>
              </a:rPr>
              <a:t> пен </a:t>
            </a:r>
            <a:r>
              <a:rPr lang="ru-RU" sz="1500" dirty="0" err="1">
                <a:latin typeface="Arial" panose="020B0604020202020204" pitchFamily="34" charset="0"/>
              </a:rPr>
              <a:t>қала</a:t>
            </a:r>
            <a:r>
              <a:rPr lang="ru-RU" sz="1500" dirty="0">
                <a:latin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</a:rPr>
              <a:t>маңы</a:t>
            </a:r>
            <a:r>
              <a:rPr lang="ru-RU" sz="1500" dirty="0">
                <a:latin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</a:rPr>
              <a:t>аймағы</a:t>
            </a:r>
            <a:r>
              <a:rPr lang="ru-RU" sz="1500" dirty="0">
                <a:latin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</a:rPr>
              <a:t>арасындағы</a:t>
            </a:r>
            <a:r>
              <a:rPr lang="ru-RU" sz="1500" dirty="0">
                <a:latin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</a:rPr>
              <a:t>функцияларды</a:t>
            </a:r>
            <a:r>
              <a:rPr lang="ru-RU" sz="1500" dirty="0">
                <a:latin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</a:rPr>
              <a:t>нақты</a:t>
            </a:r>
            <a:r>
              <a:rPr lang="ru-RU" sz="1500" dirty="0">
                <a:latin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</a:rPr>
              <a:t>бөлудің</a:t>
            </a:r>
            <a:endParaRPr lang="ru-RU" sz="500" dirty="0">
              <a:latin typeface="Arial" panose="020B0604020202020204" pitchFamily="34" charset="0"/>
            </a:endParaRPr>
          </a:p>
          <a:p>
            <a:pPr marL="0" lvl="1" indent="0"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n-US" sz="15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 </a:t>
            </a:r>
            <a:r>
              <a:rPr lang="ru-RU" sz="15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бірлескен</a:t>
            </a:r>
            <a:r>
              <a:rPr lang="ru-RU" sz="15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 </a:t>
            </a:r>
            <a:r>
              <a:rPr lang="ru-RU" sz="15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кеңістіктік</a:t>
            </a:r>
            <a:r>
              <a:rPr lang="ru-RU" sz="15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sym typeface="Arial"/>
              </a:rPr>
              <a:t>жоспарлаудың</a:t>
            </a:r>
            <a:r>
              <a:rPr lang="ru-RU" sz="15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 (</a:t>
            </a:r>
            <a:r>
              <a:rPr lang="ru-RU" sz="15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қала</a:t>
            </a:r>
            <a:r>
              <a:rPr lang="ru-RU" sz="15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 </a:t>
            </a:r>
            <a:r>
              <a:rPr lang="ru-RU" sz="15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құрылысы</a:t>
            </a:r>
            <a:r>
              <a:rPr lang="ru-RU" sz="15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, </a:t>
            </a:r>
            <a:r>
              <a:rPr lang="ru-RU" sz="15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жер</a:t>
            </a:r>
            <a:r>
              <a:rPr lang="ru-RU" sz="15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 </a:t>
            </a:r>
            <a:r>
              <a:rPr lang="ru-RU" sz="15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және</a:t>
            </a:r>
            <a:r>
              <a:rPr lang="ru-RU" sz="15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 т. б.)</a:t>
            </a:r>
            <a:endParaRPr lang="ru-RU" sz="5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/>
            </a:endParaRPr>
          </a:p>
          <a:p>
            <a:pPr marL="0" lvl="1" indent="0"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ru-RU" altLang="ru-RU" sz="1500" b="1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бірлескен</a:t>
            </a:r>
            <a:r>
              <a:rPr lang="ru-RU" altLang="ru-RU" sz="1500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жобаларды</a:t>
            </a:r>
            <a:r>
              <a:rPr lang="ru-RU" altLang="ru-RU" sz="1500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іске</a:t>
            </a:r>
            <a:r>
              <a:rPr lang="ru-RU" altLang="ru-RU" sz="1500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асыру</a:t>
            </a:r>
            <a:r>
              <a:rPr lang="ru-RU" altLang="ru-RU" sz="1500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тетіктердің</a:t>
            </a:r>
            <a:endParaRPr lang="ru-RU" altLang="ru-RU" sz="1500" dirty="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cxnSp>
        <p:nvCxnSpPr>
          <p:cNvPr id="46" name="Straight Connector 16">
            <a:extLst>
              <a:ext uri="{FF2B5EF4-FFF2-40B4-BE49-F238E27FC236}">
                <a16:creationId xmlns:a16="http://schemas.microsoft.com/office/drawing/2014/main" xmlns="" id="{0504A3AF-2072-4382-B90B-DED7BB8915D4}"/>
              </a:ext>
            </a:extLst>
          </p:cNvPr>
          <p:cNvCxnSpPr>
            <a:cxnSpLocks/>
          </p:cNvCxnSpPr>
          <p:nvPr/>
        </p:nvCxnSpPr>
        <p:spPr>
          <a:xfrm>
            <a:off x="456415" y="2932873"/>
            <a:ext cx="0" cy="41980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18">
            <a:extLst>
              <a:ext uri="{FF2B5EF4-FFF2-40B4-BE49-F238E27FC236}">
                <a16:creationId xmlns:a16="http://schemas.microsoft.com/office/drawing/2014/main" xmlns="" id="{649FCB96-A815-4CC4-9686-9BBC2671D605}"/>
              </a:ext>
            </a:extLst>
          </p:cNvPr>
          <p:cNvSpPr/>
          <p:nvPr/>
        </p:nvSpPr>
        <p:spPr>
          <a:xfrm>
            <a:off x="613020" y="3325291"/>
            <a:ext cx="54769" cy="54769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cxnSp>
        <p:nvCxnSpPr>
          <p:cNvPr id="48" name="Straight Connector 147">
            <a:extLst>
              <a:ext uri="{FF2B5EF4-FFF2-40B4-BE49-F238E27FC236}">
                <a16:creationId xmlns:a16="http://schemas.microsoft.com/office/drawing/2014/main" xmlns="" id="{10089F4F-4194-44C1-99BF-44BD99F0EF37}"/>
              </a:ext>
            </a:extLst>
          </p:cNvPr>
          <p:cNvCxnSpPr>
            <a:cxnSpLocks/>
          </p:cNvCxnSpPr>
          <p:nvPr/>
        </p:nvCxnSpPr>
        <p:spPr>
          <a:xfrm>
            <a:off x="446891" y="3348753"/>
            <a:ext cx="166129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687903" y="1684172"/>
            <a:ext cx="3796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</a:rPr>
              <a:t>II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64532" y="2468081"/>
            <a:ext cx="4481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</a:rPr>
              <a:t>III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29" name="Freeform 11"/>
          <p:cNvSpPr>
            <a:spLocks noChangeArrowheads="1"/>
          </p:cNvSpPr>
          <p:nvPr/>
        </p:nvSpPr>
        <p:spPr bwMode="auto">
          <a:xfrm>
            <a:off x="275958" y="2453189"/>
            <a:ext cx="377324" cy="356472"/>
          </a:xfrm>
          <a:custGeom>
            <a:avLst/>
            <a:gdLst>
              <a:gd name="T0" fmla="*/ 204 w 418"/>
              <a:gd name="T1" fmla="*/ 0 h 417"/>
              <a:gd name="T2" fmla="*/ 204 w 418"/>
              <a:gd name="T3" fmla="*/ 0 h 417"/>
              <a:gd name="T4" fmla="*/ 0 w 418"/>
              <a:gd name="T5" fmla="*/ 204 h 417"/>
              <a:gd name="T6" fmla="*/ 204 w 418"/>
              <a:gd name="T7" fmla="*/ 416 h 417"/>
              <a:gd name="T8" fmla="*/ 417 w 418"/>
              <a:gd name="T9" fmla="*/ 204 h 417"/>
              <a:gd name="T10" fmla="*/ 204 w 418"/>
              <a:gd name="T11" fmla="*/ 0 h 417"/>
              <a:gd name="T12" fmla="*/ 328 w 418"/>
              <a:gd name="T13" fmla="*/ 177 h 417"/>
              <a:gd name="T14" fmla="*/ 328 w 418"/>
              <a:gd name="T15" fmla="*/ 177 h 417"/>
              <a:gd name="T16" fmla="*/ 328 w 418"/>
              <a:gd name="T17" fmla="*/ 230 h 417"/>
              <a:gd name="T18" fmla="*/ 80 w 418"/>
              <a:gd name="T19" fmla="*/ 230 h 417"/>
              <a:gd name="T20" fmla="*/ 80 w 418"/>
              <a:gd name="T21" fmla="*/ 177 h 417"/>
              <a:gd name="T22" fmla="*/ 328 w 418"/>
              <a:gd name="T23" fmla="*/ 177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18" h="417">
                <a:moveTo>
                  <a:pt x="204" y="0"/>
                </a:moveTo>
                <a:lnTo>
                  <a:pt x="204" y="0"/>
                </a:lnTo>
                <a:cubicBezTo>
                  <a:pt x="89" y="0"/>
                  <a:pt x="0" y="88"/>
                  <a:pt x="0" y="204"/>
                </a:cubicBezTo>
                <a:cubicBezTo>
                  <a:pt x="0" y="319"/>
                  <a:pt x="89" y="416"/>
                  <a:pt x="204" y="416"/>
                </a:cubicBezTo>
                <a:cubicBezTo>
                  <a:pt x="319" y="416"/>
                  <a:pt x="417" y="319"/>
                  <a:pt x="417" y="204"/>
                </a:cubicBezTo>
                <a:cubicBezTo>
                  <a:pt x="417" y="88"/>
                  <a:pt x="319" y="0"/>
                  <a:pt x="204" y="0"/>
                </a:cubicBezTo>
                <a:close/>
                <a:moveTo>
                  <a:pt x="328" y="177"/>
                </a:moveTo>
                <a:lnTo>
                  <a:pt x="328" y="177"/>
                </a:lnTo>
                <a:cubicBezTo>
                  <a:pt x="328" y="230"/>
                  <a:pt x="328" y="230"/>
                  <a:pt x="328" y="230"/>
                </a:cubicBezTo>
                <a:cubicBezTo>
                  <a:pt x="80" y="230"/>
                  <a:pt x="80" y="230"/>
                  <a:pt x="80" y="230"/>
                </a:cubicBezTo>
                <a:cubicBezTo>
                  <a:pt x="80" y="177"/>
                  <a:pt x="80" y="177"/>
                  <a:pt x="80" y="177"/>
                </a:cubicBezTo>
                <a:lnTo>
                  <a:pt x="328" y="17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/>
          <a:extLst/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30" name="Freeform 110"/>
          <p:cNvSpPr>
            <a:spLocks noChangeArrowheads="1"/>
          </p:cNvSpPr>
          <p:nvPr/>
        </p:nvSpPr>
        <p:spPr bwMode="auto">
          <a:xfrm>
            <a:off x="253216" y="1663558"/>
            <a:ext cx="402970" cy="379403"/>
          </a:xfrm>
          <a:custGeom>
            <a:avLst/>
            <a:gdLst>
              <a:gd name="T0" fmla="*/ 240 w 479"/>
              <a:gd name="T1" fmla="*/ 0 h 471"/>
              <a:gd name="T2" fmla="*/ 240 w 479"/>
              <a:gd name="T3" fmla="*/ 0 h 471"/>
              <a:gd name="T4" fmla="*/ 0 w 479"/>
              <a:gd name="T5" fmla="*/ 231 h 471"/>
              <a:gd name="T6" fmla="*/ 240 w 479"/>
              <a:gd name="T7" fmla="*/ 470 h 471"/>
              <a:gd name="T8" fmla="*/ 478 w 479"/>
              <a:gd name="T9" fmla="*/ 231 h 471"/>
              <a:gd name="T10" fmla="*/ 240 w 479"/>
              <a:gd name="T11" fmla="*/ 0 h 471"/>
              <a:gd name="T12" fmla="*/ 53 w 479"/>
              <a:gd name="T13" fmla="*/ 169 h 471"/>
              <a:gd name="T14" fmla="*/ 53 w 479"/>
              <a:gd name="T15" fmla="*/ 169 h 471"/>
              <a:gd name="T16" fmla="*/ 177 w 479"/>
              <a:gd name="T17" fmla="*/ 222 h 471"/>
              <a:gd name="T18" fmla="*/ 212 w 479"/>
              <a:gd name="T19" fmla="*/ 240 h 471"/>
              <a:gd name="T20" fmla="*/ 240 w 479"/>
              <a:gd name="T21" fmla="*/ 257 h 471"/>
              <a:gd name="T22" fmla="*/ 265 w 479"/>
              <a:gd name="T23" fmla="*/ 266 h 471"/>
              <a:gd name="T24" fmla="*/ 274 w 479"/>
              <a:gd name="T25" fmla="*/ 275 h 471"/>
              <a:gd name="T26" fmla="*/ 265 w 479"/>
              <a:gd name="T27" fmla="*/ 293 h 471"/>
              <a:gd name="T28" fmla="*/ 240 w 479"/>
              <a:gd name="T29" fmla="*/ 302 h 471"/>
              <a:gd name="T30" fmla="*/ 186 w 479"/>
              <a:gd name="T31" fmla="*/ 284 h 471"/>
              <a:gd name="T32" fmla="*/ 159 w 479"/>
              <a:gd name="T33" fmla="*/ 311 h 471"/>
              <a:gd name="T34" fmla="*/ 230 w 479"/>
              <a:gd name="T35" fmla="*/ 347 h 471"/>
              <a:gd name="T36" fmla="*/ 230 w 479"/>
              <a:gd name="T37" fmla="*/ 382 h 471"/>
              <a:gd name="T38" fmla="*/ 257 w 479"/>
              <a:gd name="T39" fmla="*/ 382 h 471"/>
              <a:gd name="T40" fmla="*/ 257 w 479"/>
              <a:gd name="T41" fmla="*/ 347 h 471"/>
              <a:gd name="T42" fmla="*/ 301 w 479"/>
              <a:gd name="T43" fmla="*/ 328 h 471"/>
              <a:gd name="T44" fmla="*/ 319 w 479"/>
              <a:gd name="T45" fmla="*/ 293 h 471"/>
              <a:gd name="T46" fmla="*/ 408 w 479"/>
              <a:gd name="T47" fmla="*/ 328 h 471"/>
              <a:gd name="T48" fmla="*/ 240 w 479"/>
              <a:gd name="T49" fmla="*/ 426 h 471"/>
              <a:gd name="T50" fmla="*/ 44 w 479"/>
              <a:gd name="T51" fmla="*/ 231 h 471"/>
              <a:gd name="T52" fmla="*/ 53 w 479"/>
              <a:gd name="T53" fmla="*/ 169 h 471"/>
              <a:gd name="T54" fmla="*/ 310 w 479"/>
              <a:gd name="T55" fmla="*/ 231 h 471"/>
              <a:gd name="T56" fmla="*/ 310 w 479"/>
              <a:gd name="T57" fmla="*/ 231 h 471"/>
              <a:gd name="T58" fmla="*/ 265 w 479"/>
              <a:gd name="T59" fmla="*/ 213 h 471"/>
              <a:gd name="T60" fmla="*/ 248 w 479"/>
              <a:gd name="T61" fmla="*/ 204 h 471"/>
              <a:gd name="T62" fmla="*/ 212 w 479"/>
              <a:gd name="T63" fmla="*/ 187 h 471"/>
              <a:gd name="T64" fmla="*/ 212 w 479"/>
              <a:gd name="T65" fmla="*/ 187 h 471"/>
              <a:gd name="T66" fmla="*/ 221 w 479"/>
              <a:gd name="T67" fmla="*/ 169 h 471"/>
              <a:gd name="T68" fmla="*/ 240 w 479"/>
              <a:gd name="T69" fmla="*/ 169 h 471"/>
              <a:gd name="T70" fmla="*/ 284 w 479"/>
              <a:gd name="T71" fmla="*/ 178 h 471"/>
              <a:gd name="T72" fmla="*/ 319 w 479"/>
              <a:gd name="T73" fmla="*/ 151 h 471"/>
              <a:gd name="T74" fmla="*/ 257 w 479"/>
              <a:gd name="T75" fmla="*/ 125 h 471"/>
              <a:gd name="T76" fmla="*/ 257 w 479"/>
              <a:gd name="T77" fmla="*/ 90 h 471"/>
              <a:gd name="T78" fmla="*/ 230 w 479"/>
              <a:gd name="T79" fmla="*/ 90 h 471"/>
              <a:gd name="T80" fmla="*/ 230 w 479"/>
              <a:gd name="T81" fmla="*/ 125 h 471"/>
              <a:gd name="T82" fmla="*/ 186 w 479"/>
              <a:gd name="T83" fmla="*/ 143 h 471"/>
              <a:gd name="T84" fmla="*/ 168 w 479"/>
              <a:gd name="T85" fmla="*/ 169 h 471"/>
              <a:gd name="T86" fmla="*/ 80 w 479"/>
              <a:gd name="T87" fmla="*/ 125 h 471"/>
              <a:gd name="T88" fmla="*/ 240 w 479"/>
              <a:gd name="T89" fmla="*/ 37 h 471"/>
              <a:gd name="T90" fmla="*/ 434 w 479"/>
              <a:gd name="T91" fmla="*/ 231 h 471"/>
              <a:gd name="T92" fmla="*/ 425 w 479"/>
              <a:gd name="T93" fmla="*/ 284 h 471"/>
              <a:gd name="T94" fmla="*/ 310 w 479"/>
              <a:gd name="T95" fmla="*/ 231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79" h="471">
                <a:moveTo>
                  <a:pt x="240" y="0"/>
                </a:moveTo>
                <a:lnTo>
                  <a:pt x="240" y="0"/>
                </a:lnTo>
                <a:cubicBezTo>
                  <a:pt x="106" y="0"/>
                  <a:pt x="0" y="107"/>
                  <a:pt x="0" y="231"/>
                </a:cubicBezTo>
                <a:cubicBezTo>
                  <a:pt x="0" y="364"/>
                  <a:pt x="106" y="470"/>
                  <a:pt x="240" y="470"/>
                </a:cubicBezTo>
                <a:cubicBezTo>
                  <a:pt x="372" y="470"/>
                  <a:pt x="478" y="364"/>
                  <a:pt x="478" y="231"/>
                </a:cubicBezTo>
                <a:cubicBezTo>
                  <a:pt x="478" y="107"/>
                  <a:pt x="372" y="0"/>
                  <a:pt x="240" y="0"/>
                </a:cubicBezTo>
                <a:close/>
                <a:moveTo>
                  <a:pt x="53" y="169"/>
                </a:moveTo>
                <a:lnTo>
                  <a:pt x="53" y="169"/>
                </a:lnTo>
                <a:cubicBezTo>
                  <a:pt x="177" y="222"/>
                  <a:pt x="177" y="222"/>
                  <a:pt x="177" y="222"/>
                </a:cubicBezTo>
                <a:cubicBezTo>
                  <a:pt x="212" y="240"/>
                  <a:pt x="212" y="240"/>
                  <a:pt x="212" y="240"/>
                </a:cubicBezTo>
                <a:cubicBezTo>
                  <a:pt x="240" y="257"/>
                  <a:pt x="240" y="257"/>
                  <a:pt x="240" y="257"/>
                </a:cubicBezTo>
                <a:cubicBezTo>
                  <a:pt x="265" y="266"/>
                  <a:pt x="265" y="266"/>
                  <a:pt x="265" y="266"/>
                </a:cubicBezTo>
                <a:lnTo>
                  <a:pt x="274" y="275"/>
                </a:lnTo>
                <a:cubicBezTo>
                  <a:pt x="274" y="284"/>
                  <a:pt x="265" y="293"/>
                  <a:pt x="265" y="293"/>
                </a:cubicBezTo>
                <a:cubicBezTo>
                  <a:pt x="257" y="302"/>
                  <a:pt x="248" y="302"/>
                  <a:pt x="240" y="302"/>
                </a:cubicBezTo>
                <a:cubicBezTo>
                  <a:pt x="221" y="302"/>
                  <a:pt x="203" y="293"/>
                  <a:pt x="186" y="284"/>
                </a:cubicBezTo>
                <a:cubicBezTo>
                  <a:pt x="159" y="311"/>
                  <a:pt x="159" y="311"/>
                  <a:pt x="159" y="311"/>
                </a:cubicBezTo>
                <a:cubicBezTo>
                  <a:pt x="177" y="328"/>
                  <a:pt x="203" y="347"/>
                  <a:pt x="230" y="347"/>
                </a:cubicBezTo>
                <a:cubicBezTo>
                  <a:pt x="230" y="382"/>
                  <a:pt x="230" y="382"/>
                  <a:pt x="230" y="382"/>
                </a:cubicBezTo>
                <a:cubicBezTo>
                  <a:pt x="257" y="382"/>
                  <a:pt x="257" y="382"/>
                  <a:pt x="257" y="382"/>
                </a:cubicBezTo>
                <a:cubicBezTo>
                  <a:pt x="257" y="347"/>
                  <a:pt x="257" y="347"/>
                  <a:pt x="257" y="347"/>
                </a:cubicBezTo>
                <a:cubicBezTo>
                  <a:pt x="274" y="338"/>
                  <a:pt x="284" y="338"/>
                  <a:pt x="301" y="328"/>
                </a:cubicBezTo>
                <a:cubicBezTo>
                  <a:pt x="310" y="319"/>
                  <a:pt x="319" y="302"/>
                  <a:pt x="319" y="293"/>
                </a:cubicBezTo>
                <a:cubicBezTo>
                  <a:pt x="408" y="328"/>
                  <a:pt x="408" y="328"/>
                  <a:pt x="408" y="328"/>
                </a:cubicBezTo>
                <a:cubicBezTo>
                  <a:pt x="372" y="391"/>
                  <a:pt x="310" y="426"/>
                  <a:pt x="240" y="426"/>
                </a:cubicBezTo>
                <a:cubicBezTo>
                  <a:pt x="133" y="426"/>
                  <a:pt x="44" y="347"/>
                  <a:pt x="44" y="231"/>
                </a:cubicBezTo>
                <a:cubicBezTo>
                  <a:pt x="44" y="213"/>
                  <a:pt x="44" y="187"/>
                  <a:pt x="53" y="169"/>
                </a:cubicBezTo>
                <a:close/>
                <a:moveTo>
                  <a:pt x="310" y="231"/>
                </a:moveTo>
                <a:lnTo>
                  <a:pt x="310" y="231"/>
                </a:lnTo>
                <a:cubicBezTo>
                  <a:pt x="265" y="213"/>
                  <a:pt x="265" y="213"/>
                  <a:pt x="265" y="213"/>
                </a:cubicBezTo>
                <a:cubicBezTo>
                  <a:pt x="248" y="204"/>
                  <a:pt x="248" y="204"/>
                  <a:pt x="248" y="204"/>
                </a:cubicBezTo>
                <a:cubicBezTo>
                  <a:pt x="212" y="187"/>
                  <a:pt x="212" y="187"/>
                  <a:pt x="212" y="187"/>
                </a:cubicBezTo>
                <a:lnTo>
                  <a:pt x="212" y="187"/>
                </a:lnTo>
                <a:cubicBezTo>
                  <a:pt x="212" y="178"/>
                  <a:pt x="221" y="178"/>
                  <a:pt x="221" y="169"/>
                </a:cubicBezTo>
                <a:cubicBezTo>
                  <a:pt x="230" y="169"/>
                  <a:pt x="240" y="169"/>
                  <a:pt x="240" y="169"/>
                </a:cubicBezTo>
                <a:cubicBezTo>
                  <a:pt x="257" y="169"/>
                  <a:pt x="274" y="169"/>
                  <a:pt x="284" y="178"/>
                </a:cubicBezTo>
                <a:cubicBezTo>
                  <a:pt x="319" y="151"/>
                  <a:pt x="319" y="151"/>
                  <a:pt x="319" y="151"/>
                </a:cubicBezTo>
                <a:cubicBezTo>
                  <a:pt x="301" y="134"/>
                  <a:pt x="274" y="125"/>
                  <a:pt x="257" y="125"/>
                </a:cubicBezTo>
                <a:cubicBezTo>
                  <a:pt x="257" y="90"/>
                  <a:pt x="257" y="90"/>
                  <a:pt x="257" y="90"/>
                </a:cubicBezTo>
                <a:cubicBezTo>
                  <a:pt x="230" y="90"/>
                  <a:pt x="230" y="90"/>
                  <a:pt x="230" y="90"/>
                </a:cubicBezTo>
                <a:cubicBezTo>
                  <a:pt x="230" y="125"/>
                  <a:pt x="230" y="125"/>
                  <a:pt x="230" y="125"/>
                </a:cubicBezTo>
                <a:cubicBezTo>
                  <a:pt x="212" y="125"/>
                  <a:pt x="203" y="134"/>
                  <a:pt x="186" y="143"/>
                </a:cubicBezTo>
                <a:cubicBezTo>
                  <a:pt x="177" y="143"/>
                  <a:pt x="168" y="160"/>
                  <a:pt x="168" y="169"/>
                </a:cubicBezTo>
                <a:cubicBezTo>
                  <a:pt x="80" y="125"/>
                  <a:pt x="80" y="125"/>
                  <a:pt x="80" y="125"/>
                </a:cubicBezTo>
                <a:cubicBezTo>
                  <a:pt x="106" y="72"/>
                  <a:pt x="168" y="37"/>
                  <a:pt x="240" y="37"/>
                </a:cubicBezTo>
                <a:cubicBezTo>
                  <a:pt x="346" y="37"/>
                  <a:pt x="434" y="125"/>
                  <a:pt x="434" y="231"/>
                </a:cubicBezTo>
                <a:cubicBezTo>
                  <a:pt x="434" y="249"/>
                  <a:pt x="434" y="266"/>
                  <a:pt x="425" y="284"/>
                </a:cubicBezTo>
                <a:lnTo>
                  <a:pt x="310" y="2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/>
          <a:extLst/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31" name="Shape 2546"/>
          <p:cNvSpPr/>
          <p:nvPr/>
        </p:nvSpPr>
        <p:spPr>
          <a:xfrm>
            <a:off x="266094" y="927233"/>
            <a:ext cx="359804" cy="2979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>
              <a:lumMod val="95000"/>
            </a:schemeClr>
          </a:solidFill>
          <a:ln w="12700">
            <a:solidFill>
              <a:srgbClr val="002060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39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31415" y="4979801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2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40" name="Rectangle 286">
            <a:extLst>
              <a:ext uri="{FF2B5EF4-FFF2-40B4-BE49-F238E27FC236}">
                <a16:creationId xmlns:a16="http://schemas.microsoft.com/office/drawing/2014/main" xmlns="" id="{787FDF3E-28E4-42A8-9CD3-41238AE9C42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9307" y="3890812"/>
            <a:ext cx="9144000" cy="661972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67" lvl="1" algn="ctr" defTabSz="1015934">
              <a:defRPr/>
            </a:pPr>
            <a:r>
              <a:rPr lang="kk-KZ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ЖОҚТЫҒЫ</a:t>
            </a:r>
            <a:endParaRPr lang="en-US" sz="16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4176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479431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r>
              <a:rPr lang="kk-KZ" sz="2000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Заң жобаларын әзірлеу үшін негіздеме</a:t>
            </a:r>
            <a:endParaRPr lang="ru-RU" sz="2000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5" y="1590814"/>
            <a:ext cx="3218339" cy="2050883"/>
          </a:xfrm>
          <a:prstGeom prst="rect">
            <a:avLst/>
          </a:prstGeom>
          <a:noFill/>
          <a:ln w="1587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31415" y="4979801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>
                <a:latin typeface="Arial" pitchFamily="34" charset="0"/>
                <a:ea typeface="Times New Roman" panose="02020603050405020304" pitchFamily="18" charset="0"/>
              </a:rPr>
              <a:t>3</a:t>
            </a:r>
          </a:p>
        </p:txBody>
      </p:sp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3344064" y="686370"/>
            <a:ext cx="5690404" cy="4385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 algn="just">
              <a:buAutoNum type="arabicPeriod"/>
            </a:pPr>
            <a:r>
              <a:rPr lang="ru-RU" sz="1550" dirty="0">
                <a:latin typeface="Arial" panose="020B0604020202020204" pitchFamily="34" charset="0"/>
              </a:rPr>
              <a:t>ҚР </a:t>
            </a:r>
            <a:r>
              <a:rPr lang="ru-RU" sz="1550" dirty="0" err="1">
                <a:latin typeface="Arial" panose="020B0604020202020204" pitchFamily="34" charset="0"/>
              </a:rPr>
              <a:t>Үкіметіне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Мемлекет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басшысының</a:t>
            </a:r>
            <a:r>
              <a:rPr lang="ru-RU" sz="1550" dirty="0">
                <a:latin typeface="Arial" panose="020B0604020202020204" pitchFamily="34" charset="0"/>
              </a:rPr>
              <a:t> 2021 </a:t>
            </a:r>
            <a:r>
              <a:rPr lang="ru-RU" sz="1550" dirty="0" err="1">
                <a:latin typeface="Arial" panose="020B0604020202020204" pitchFamily="34" charset="0"/>
              </a:rPr>
              <a:t>жылғы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smtClean="0">
                <a:latin typeface="Arial" panose="020B0604020202020204" pitchFamily="34" charset="0"/>
              </a:rPr>
              <a:t/>
            </a:r>
            <a:br>
              <a:rPr lang="ru-RU" sz="1550" dirty="0" smtClean="0">
                <a:latin typeface="Arial" panose="020B0604020202020204" pitchFamily="34" charset="0"/>
              </a:rPr>
            </a:br>
            <a:r>
              <a:rPr lang="ru-RU" sz="1550" dirty="0" smtClean="0">
                <a:latin typeface="Arial" panose="020B0604020202020204" pitchFamily="34" charset="0"/>
              </a:rPr>
              <a:t>1 </a:t>
            </a:r>
            <a:r>
              <a:rPr lang="ru-RU" sz="1550" dirty="0" err="1">
                <a:latin typeface="Arial" panose="020B0604020202020204" pitchFamily="34" charset="0"/>
              </a:rPr>
              <a:t>қыркүйектегі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smtClean="0">
                <a:latin typeface="Arial" panose="020B0604020202020204" pitchFamily="34" charset="0"/>
              </a:rPr>
              <a:t>«</a:t>
            </a:r>
            <a:r>
              <a:rPr lang="ru-RU" sz="1550" dirty="0" err="1" smtClean="0">
                <a:latin typeface="Arial" panose="020B0604020202020204" pitchFamily="34" charset="0"/>
              </a:rPr>
              <a:t>Халық</a:t>
            </a:r>
            <a:r>
              <a:rPr lang="ru-RU" sz="1550" dirty="0" smtClean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бірлігі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және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жүйелі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реформалар</a:t>
            </a:r>
            <a:r>
              <a:rPr lang="ru-RU" sz="1550" dirty="0">
                <a:latin typeface="Arial" panose="020B0604020202020204" pitchFamily="34" charset="0"/>
              </a:rPr>
              <a:t> – ел </a:t>
            </a:r>
            <a:r>
              <a:rPr lang="ru-RU" sz="1550" dirty="0" err="1">
                <a:latin typeface="Arial" panose="020B0604020202020204" pitchFamily="34" charset="0"/>
              </a:rPr>
              <a:t>өркендеуінің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берік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 smtClean="0">
                <a:latin typeface="Arial" panose="020B0604020202020204" pitchFamily="34" charset="0"/>
              </a:rPr>
              <a:t>негіз</a:t>
            </a:r>
            <a:r>
              <a:rPr lang="ru-RU" sz="1550" dirty="0" smtClean="0">
                <a:latin typeface="Arial" panose="020B0604020202020204" pitchFamily="34" charset="0"/>
              </a:rPr>
              <a:t>» </a:t>
            </a:r>
            <a:r>
              <a:rPr lang="ru-RU" sz="1550" dirty="0" err="1" smtClean="0">
                <a:latin typeface="Arial" panose="020B0604020202020204" pitchFamily="34" charset="0"/>
              </a:rPr>
              <a:t>Жолдауын</a:t>
            </a:r>
            <a:r>
              <a:rPr lang="ru-RU" sz="1550" dirty="0" smtClean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іске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асыру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жөніндегі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smtClean="0">
                <a:latin typeface="Arial" panose="020B0604020202020204" pitchFamily="34" charset="0"/>
              </a:rPr>
              <a:t>ЖҰЖ </a:t>
            </a:r>
            <a:r>
              <a:rPr lang="ru-RU" sz="1550" dirty="0">
                <a:latin typeface="Arial" panose="020B0604020202020204" pitchFamily="34" charset="0"/>
              </a:rPr>
              <a:t>55-тармағымен 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«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гломерацияларды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дамыту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туралы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»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заңды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әзірлеу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тапсырылды</a:t>
            </a:r>
            <a:endParaRPr lang="ru-RU" sz="155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342900" indent="-342900" algn="just">
              <a:buAutoNum type="arabicPeriod"/>
            </a:pPr>
            <a:endParaRPr lang="ru-RU" sz="1550" dirty="0" smtClean="0">
              <a:latin typeface="Arial" panose="020B0604020202020204" pitchFamily="34" charset="0"/>
            </a:endParaRPr>
          </a:p>
          <a:p>
            <a:pPr marL="342900" indent="-342900" algn="just">
              <a:buFontTx/>
              <a:buAutoNum type="arabicPeriod"/>
            </a:pPr>
            <a:r>
              <a:rPr lang="ru-RU" sz="1550" dirty="0" err="1" smtClean="0">
                <a:latin typeface="Arial" panose="020B0604020202020204" pitchFamily="34" charset="0"/>
              </a:rPr>
              <a:t>А.ж</a:t>
            </a:r>
            <a:r>
              <a:rPr lang="ru-RU" sz="1550" dirty="0">
                <a:latin typeface="Arial" panose="020B0604020202020204" pitchFamily="34" charset="0"/>
              </a:rPr>
              <a:t>. 5 </a:t>
            </a:r>
            <a:r>
              <a:rPr lang="ru-RU" sz="1550" dirty="0" err="1">
                <a:latin typeface="Arial" panose="020B0604020202020204" pitchFamily="34" charset="0"/>
              </a:rPr>
              <a:t>мамырдағы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реформалар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жөніндегі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Жоғары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 smtClean="0">
                <a:latin typeface="Arial" panose="020B0604020202020204" pitchFamily="34" charset="0"/>
              </a:rPr>
              <a:t>кеңес</a:t>
            </a:r>
            <a:r>
              <a:rPr lang="ru-RU" sz="1550" dirty="0" smtClean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отырысының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хаттамасымен</a:t>
            </a:r>
            <a:r>
              <a:rPr lang="ru-RU" sz="1550" dirty="0">
                <a:latin typeface="Arial" panose="020B0604020202020204" pitchFamily="34" charset="0"/>
              </a:rPr>
              <a:t> ҚР </a:t>
            </a:r>
            <a:r>
              <a:rPr lang="ru-RU" sz="1550" dirty="0" err="1">
                <a:latin typeface="Arial" panose="020B0604020202020204" pitchFamily="34" charset="0"/>
              </a:rPr>
              <a:t>Үкіметіне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smtClean="0">
                <a:latin typeface="Arial" panose="020B0604020202020204" pitchFamily="34" charset="0"/>
              </a:rPr>
              <a:t>«</a:t>
            </a:r>
            <a:r>
              <a:rPr lang="ru-RU" sz="1550" dirty="0" err="1" smtClean="0">
                <a:latin typeface="Arial" panose="020B0604020202020204" pitchFamily="34" charset="0"/>
              </a:rPr>
              <a:t>Агломерацияларды</a:t>
            </a:r>
            <a:r>
              <a:rPr lang="ru-RU" sz="1550" dirty="0" smtClean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дамыту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 smtClean="0">
                <a:latin typeface="Arial" panose="020B0604020202020204" pitchFamily="34" charset="0"/>
              </a:rPr>
              <a:t>туралы</a:t>
            </a:r>
            <a:r>
              <a:rPr lang="ru-RU" sz="1550" dirty="0" smtClean="0">
                <a:latin typeface="Arial" panose="020B0604020202020204" pitchFamily="34" charset="0"/>
              </a:rPr>
              <a:t>» </a:t>
            </a:r>
            <a:r>
              <a:rPr lang="ru-RU" sz="1550" dirty="0" err="1">
                <a:latin typeface="Arial" panose="020B0604020202020204" pitchFamily="34" charset="0"/>
              </a:rPr>
              <a:t>Заңның</a:t>
            </a:r>
            <a:r>
              <a:rPr lang="ru-RU" sz="1550" dirty="0">
                <a:latin typeface="Arial" panose="020B0604020202020204" pitchFamily="34" charset="0"/>
              </a:rPr>
              <a:t> а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. ж.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соңына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дейін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былдануын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мтамасыз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ету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тапсырылды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i="1" dirty="0">
                <a:latin typeface="Arial" panose="020B0604020202020204" pitchFamily="34" charset="0"/>
              </a:rPr>
              <a:t>(3.3.2-тармақ</a:t>
            </a:r>
            <a:r>
              <a:rPr lang="ru-RU" sz="1550" i="1" dirty="0" smtClean="0">
                <a:latin typeface="Arial" panose="020B0604020202020204" pitchFamily="34" charset="0"/>
              </a:rPr>
              <a:t>)</a:t>
            </a:r>
          </a:p>
          <a:p>
            <a:pPr marL="342900" indent="-342900" algn="just">
              <a:buFontTx/>
              <a:buAutoNum type="arabicPeriod"/>
            </a:pPr>
            <a:endParaRPr lang="ru-RU" sz="1550" dirty="0">
              <a:latin typeface="Arial" panose="020B0604020202020204" pitchFamily="34" charset="0"/>
            </a:endParaRPr>
          </a:p>
          <a:p>
            <a:pPr marL="342900" indent="-342900" algn="just">
              <a:buFontTx/>
              <a:buAutoNum type="arabicPeriod"/>
            </a:pPr>
            <a:r>
              <a:rPr lang="ru-RU" sz="1550" dirty="0">
                <a:latin typeface="Arial" panose="020B0604020202020204" pitchFamily="34" charset="0"/>
              </a:rPr>
              <a:t>ҚР </a:t>
            </a:r>
            <a:r>
              <a:rPr lang="ru-RU" sz="1550" dirty="0" err="1">
                <a:latin typeface="Arial" panose="020B0604020202020204" pitchFamily="34" charset="0"/>
              </a:rPr>
              <a:t>Президентінің</a:t>
            </a:r>
            <a:r>
              <a:rPr lang="ru-RU" sz="1550" dirty="0">
                <a:latin typeface="Arial" panose="020B0604020202020204" pitchFamily="34" charset="0"/>
              </a:rPr>
              <a:t> 2021 </a:t>
            </a:r>
            <a:r>
              <a:rPr lang="ru-RU" sz="1550" dirty="0" err="1">
                <a:latin typeface="Arial" panose="020B0604020202020204" pitchFamily="34" charset="0"/>
              </a:rPr>
              <a:t>жылғы</a:t>
            </a:r>
            <a:r>
              <a:rPr lang="ru-RU" sz="1550" dirty="0">
                <a:latin typeface="Arial" panose="020B0604020202020204" pitchFamily="34" charset="0"/>
              </a:rPr>
              <a:t> 17 </a:t>
            </a:r>
            <a:r>
              <a:rPr lang="ru-RU" sz="1550" dirty="0" err="1">
                <a:latin typeface="Arial" panose="020B0604020202020204" pitchFamily="34" charset="0"/>
              </a:rPr>
              <a:t>наурыздағы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smtClean="0">
                <a:latin typeface="Arial" panose="020B0604020202020204" pitchFamily="34" charset="0"/>
              </a:rPr>
              <a:t>«Алматы </a:t>
            </a:r>
            <a:r>
              <a:rPr lang="ru-RU" sz="1550" dirty="0" err="1">
                <a:latin typeface="Arial" panose="020B0604020202020204" pitchFamily="34" charset="0"/>
              </a:rPr>
              <a:t>қаласын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одан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әрі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дамыту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 smtClean="0">
                <a:latin typeface="Arial" panose="020B0604020202020204" pitchFamily="34" charset="0"/>
              </a:rPr>
              <a:t>туралы</a:t>
            </a:r>
            <a:r>
              <a:rPr lang="ru-RU" sz="1550" dirty="0" smtClean="0">
                <a:latin typeface="Arial" panose="020B0604020202020204" pitchFamily="34" charset="0"/>
              </a:rPr>
              <a:t>» </a:t>
            </a:r>
            <a:r>
              <a:rPr lang="ru-RU" sz="1550" dirty="0" err="1">
                <a:latin typeface="Arial" panose="020B0604020202020204" pitchFamily="34" charset="0"/>
              </a:rPr>
              <a:t>төрағалығымен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өткен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кеңестің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хаттамасымен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smtClean="0">
                <a:latin typeface="Arial" panose="020B0604020202020204" pitchFamily="34" charset="0"/>
              </a:rPr>
              <a:t/>
            </a:r>
            <a:br>
              <a:rPr lang="ru-RU" sz="1550" dirty="0" smtClean="0">
                <a:latin typeface="Arial" panose="020B0604020202020204" pitchFamily="34" charset="0"/>
              </a:rPr>
            </a:br>
            <a:r>
              <a:rPr lang="ru-RU" sz="1550" i="1" dirty="0" smtClean="0">
                <a:latin typeface="Arial" panose="020B0604020202020204" pitchFamily="34" charset="0"/>
              </a:rPr>
              <a:t>(</a:t>
            </a:r>
            <a:r>
              <a:rPr lang="ru-RU" sz="1550" i="1" dirty="0">
                <a:latin typeface="Arial" panose="020B0604020202020204" pitchFamily="34" charset="0"/>
              </a:rPr>
              <a:t>2.3-тармақ)</a:t>
            </a:r>
            <a:r>
              <a:rPr lang="ru-RU" sz="1550" dirty="0">
                <a:latin typeface="Arial" panose="020B0604020202020204" pitchFamily="34" charset="0"/>
              </a:rPr>
              <a:t> ҚР </a:t>
            </a:r>
            <a:r>
              <a:rPr lang="ru-RU" sz="1550" dirty="0" err="1">
                <a:latin typeface="Arial" panose="020B0604020202020204" pitchFamily="34" charset="0"/>
              </a:rPr>
              <a:t>Үкіметіне</a:t>
            </a:r>
            <a:r>
              <a:rPr lang="ru-RU" sz="1550" dirty="0">
                <a:latin typeface="Arial" panose="020B0604020202020204" pitchFamily="34" charset="0"/>
              </a:rPr>
              <a:t> Алматы </a:t>
            </a:r>
            <a:r>
              <a:rPr lang="ru-RU" sz="1550" dirty="0" err="1">
                <a:latin typeface="Arial" panose="020B0604020202020204" pitchFamily="34" charset="0"/>
              </a:rPr>
              <a:t>қаласы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үшін</a:t>
            </a:r>
            <a:r>
              <a:rPr lang="ru-RU" sz="1550" dirty="0">
                <a:latin typeface="Arial" panose="020B0604020202020204" pitchFamily="34" charset="0"/>
              </a:rPr>
              <a:t> даму </a:t>
            </a:r>
            <a:r>
              <a:rPr lang="ru-RU" sz="1550" dirty="0" err="1">
                <a:latin typeface="Arial" panose="020B0604020202020204" pitchFamily="34" charset="0"/>
              </a:rPr>
              <a:t>мақсаттары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dirty="0" err="1">
                <a:latin typeface="Arial" panose="020B0604020202020204" pitchFamily="34" charset="0"/>
              </a:rPr>
              <a:t>үшін</a:t>
            </a:r>
            <a:r>
              <a:rPr lang="ru-RU" sz="1550" dirty="0"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рыз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лудың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ерекше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тәртібін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белгілеу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өнінде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шаралар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былдау</a:t>
            </a:r>
            <a:r>
              <a:rPr lang="ru-RU" sz="155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50" b="1" dirty="0" err="1">
                <a:solidFill>
                  <a:srgbClr val="002060"/>
                </a:solidFill>
                <a:latin typeface="Arial" panose="020B0604020202020204" pitchFamily="34" charset="0"/>
              </a:rPr>
              <a:t>тапсырылды</a:t>
            </a:r>
            <a:endParaRPr lang="ru-RU" sz="155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12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TextBox 68"/>
          <p:cNvSpPr txBox="1"/>
          <p:nvPr/>
        </p:nvSpPr>
        <p:spPr>
          <a:xfrm>
            <a:off x="438646" y="101263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cap="small" dirty="0" err="1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+mn-cs"/>
              </a:rPr>
              <a:t>Агломерацияны</a:t>
            </a:r>
            <a:r>
              <a:rPr 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+mn-cs"/>
              </a:rPr>
              <a:t> </a:t>
            </a:r>
            <a:r>
              <a:rPr lang="kk-KZ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+mn-cs"/>
              </a:rPr>
              <a:t>анықтау</a:t>
            </a: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+mn-cs"/>
            </a:endParaRPr>
          </a:p>
        </p:txBody>
      </p:sp>
      <p:sp>
        <p:nvSpPr>
          <p:cNvPr id="62" name="Прямоугольник 15"/>
          <p:cNvSpPr/>
          <p:nvPr/>
        </p:nvSpPr>
        <p:spPr>
          <a:xfrm>
            <a:off x="-7950" y="578341"/>
            <a:ext cx="91519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АГЛОМЕРАЦИЯ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smtClean="0">
                <a:latin typeface="Arial" panose="020B0604020202020204" pitchFamily="34" charset="0"/>
              </a:rPr>
              <a:t>– </a:t>
            </a:r>
            <a:r>
              <a:rPr lang="ru-RU" altLang="ru-RU" sz="1600" dirty="0" err="1" smtClean="0">
                <a:latin typeface="Arial" panose="020B0604020202020204" pitchFamily="34" charset="0"/>
              </a:rPr>
              <a:t>күнделікті</a:t>
            </a:r>
            <a:r>
              <a:rPr lang="ru-RU" altLang="ru-RU" sz="1600" dirty="0" smtClean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еңбек</a:t>
            </a:r>
            <a:r>
              <a:rPr lang="ru-RU" altLang="ru-RU" sz="1600" dirty="0">
                <a:latin typeface="Arial" panose="020B0604020202020204" pitchFamily="34" charset="0"/>
              </a:rPr>
              <a:t>, </a:t>
            </a:r>
            <a:r>
              <a:rPr lang="ru-RU" altLang="ru-RU" sz="1600" dirty="0" err="1">
                <a:latin typeface="Arial" panose="020B0604020202020204" pitchFamily="34" charset="0"/>
              </a:rPr>
              <a:t>өндірістік</a:t>
            </a:r>
            <a:r>
              <a:rPr lang="ru-RU" altLang="ru-RU" sz="1600" dirty="0">
                <a:latin typeface="Arial" panose="020B0604020202020204" pitchFamily="34" charset="0"/>
              </a:rPr>
              <a:t>, </a:t>
            </a:r>
            <a:r>
              <a:rPr lang="ru-RU" altLang="ru-RU" sz="1600" dirty="0" err="1">
                <a:latin typeface="Arial" panose="020B0604020202020204" pitchFamily="34" charset="0"/>
              </a:rPr>
              <a:t>әлеуметтік-мәдени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және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өзге</a:t>
            </a:r>
            <a:r>
              <a:rPr lang="ru-RU" altLang="ru-RU" sz="1600" dirty="0">
                <a:latin typeface="Arial" panose="020B0604020202020204" pitchFamily="34" charset="0"/>
              </a:rPr>
              <a:t> де </a:t>
            </a:r>
            <a:r>
              <a:rPr lang="ru-RU" altLang="ru-RU" sz="1600" dirty="0" err="1">
                <a:latin typeface="Arial" panose="020B0604020202020204" pitchFamily="34" charset="0"/>
              </a:rPr>
              <a:t>байланыстары</a:t>
            </a:r>
            <a:r>
              <a:rPr lang="ru-RU" altLang="ru-RU" sz="1600" dirty="0">
                <a:latin typeface="Arial" panose="020B0604020202020204" pitchFamily="34" charset="0"/>
              </a:rPr>
              <a:t>, </a:t>
            </a:r>
            <a:r>
              <a:rPr lang="ru-RU" altLang="ru-RU" sz="1600" dirty="0" err="1">
                <a:latin typeface="Arial" panose="020B0604020202020204" pitchFamily="34" charset="0"/>
              </a:rPr>
              <a:t>сондай-ақ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умақтық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бірігу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үрдісі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бар</a:t>
            </a:r>
            <a:r>
              <a:rPr lang="ru-RU" altLang="ru-RU" sz="1600" dirty="0">
                <a:latin typeface="Arial" panose="020B0604020202020204" pitchFamily="34" charset="0"/>
              </a:rPr>
              <a:t>,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халқы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бес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үз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мың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дамнан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сатын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 smtClean="0">
                <a:latin typeface="Arial" panose="020B0604020202020204" pitchFamily="34" charset="0"/>
              </a:rPr>
              <a:t>астанадан</a:t>
            </a:r>
            <a:r>
              <a:rPr lang="ru-RU" altLang="ru-RU" sz="1600" dirty="0" smtClean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немесе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 smtClean="0">
                <a:latin typeface="Arial" panose="020B0604020202020204" pitchFamily="34" charset="0"/>
              </a:rPr>
              <a:t>республикалық</a:t>
            </a:r>
            <a:r>
              <a:rPr lang="ru-RU" altLang="ru-RU" sz="1600" dirty="0" smtClean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маңызы</a:t>
            </a:r>
            <a:r>
              <a:rPr lang="ru-RU" altLang="ru-RU" sz="1600" dirty="0">
                <a:latin typeface="Arial" panose="020B0604020202020204" pitchFamily="34" charset="0"/>
              </a:rPr>
              <a:t> бар </a:t>
            </a:r>
            <a:r>
              <a:rPr lang="ru-RU" altLang="ru-RU" sz="1600" dirty="0" err="1">
                <a:latin typeface="Arial" panose="020B0604020202020204" pitchFamily="34" charset="0"/>
              </a:rPr>
              <a:t>қаладан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немесе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облыстық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маңызы</a:t>
            </a:r>
            <a:r>
              <a:rPr lang="ru-RU" altLang="ru-RU" sz="1600" dirty="0">
                <a:latin typeface="Arial" panose="020B0604020202020204" pitchFamily="34" charset="0"/>
              </a:rPr>
              <a:t> бар </a:t>
            </a:r>
            <a:r>
              <a:rPr lang="ru-RU" altLang="ru-RU" sz="1600" dirty="0" err="1">
                <a:latin typeface="Arial" panose="020B0604020202020204" pitchFamily="34" charset="0"/>
              </a:rPr>
              <a:t>қаладан</a:t>
            </a:r>
            <a:r>
              <a:rPr lang="ru-RU" altLang="ru-RU" sz="1600" dirty="0">
                <a:latin typeface="Arial" panose="020B0604020202020204" pitchFamily="34" charset="0"/>
              </a:rPr>
              <a:t> (агломерация </a:t>
            </a:r>
            <a:r>
              <a:rPr lang="ru-RU" altLang="ru-RU" sz="1600" dirty="0" err="1">
                <a:latin typeface="Arial" panose="020B0604020202020204" pitchFamily="34" charset="0"/>
              </a:rPr>
              <a:t>орталығынан</a:t>
            </a:r>
            <a:r>
              <a:rPr lang="ru-RU" altLang="ru-RU" sz="1600" dirty="0">
                <a:latin typeface="Arial" panose="020B0604020202020204" pitchFamily="34" charset="0"/>
              </a:rPr>
              <a:t>) </a:t>
            </a:r>
            <a:r>
              <a:rPr lang="ru-RU" altLang="ru-RU" sz="1600" dirty="0" err="1">
                <a:latin typeface="Arial" panose="020B0604020202020204" pitchFamily="34" charset="0"/>
              </a:rPr>
              <a:t>және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оның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айналасында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орналасқан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елді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мекендерден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 err="1">
                <a:latin typeface="Arial" panose="020B0604020202020204" pitchFamily="34" charset="0"/>
              </a:rPr>
              <a:t>тұратын</a:t>
            </a:r>
            <a:r>
              <a:rPr lang="ru-RU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ергілікті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үйе</a:t>
            </a:r>
            <a:endParaRPr lang="en-US" altLang="ru-RU" sz="16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 flipV="1">
            <a:off x="1473" y="1901780"/>
            <a:ext cx="9151950" cy="207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31415" y="4979801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en-US" sz="800" dirty="0" smtClean="0">
                <a:latin typeface="Arial" pitchFamily="34" charset="0"/>
                <a:ea typeface="Times New Roman" panose="02020603050405020304" pitchFamily="18" charset="0"/>
              </a:rPr>
              <a:t>4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209" name="Прямоугольник 15"/>
          <p:cNvSpPr/>
          <p:nvPr/>
        </p:nvSpPr>
        <p:spPr>
          <a:xfrm>
            <a:off x="371618" y="2123718"/>
            <a:ext cx="8465870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400" dirty="0" err="1" smtClean="0">
                <a:latin typeface="Arial" panose="020B0604020202020204" pitchFamily="34" charset="0"/>
              </a:rPr>
              <a:t>Елді</a:t>
            </a:r>
            <a:r>
              <a:rPr lang="ru-RU" sz="1400" dirty="0" smtClean="0">
                <a:latin typeface="Arial" panose="020B0604020202020204" pitchFamily="34" charset="0"/>
              </a:rPr>
              <a:t> </a:t>
            </a:r>
            <a:r>
              <a:rPr lang="ru-RU" sz="1400" dirty="0" err="1" smtClean="0">
                <a:latin typeface="Arial" panose="020B0604020202020204" pitchFamily="34" charset="0"/>
              </a:rPr>
              <a:t>мекендерді</a:t>
            </a:r>
            <a:r>
              <a:rPr lang="ru-RU" sz="1400" dirty="0" smtClean="0">
                <a:latin typeface="Arial" panose="020B0604020202020204" pitchFamily="34" charset="0"/>
              </a:rPr>
              <a:t> </a:t>
            </a:r>
            <a:r>
              <a:rPr lang="ru-RU" sz="1400" dirty="0" err="1" smtClean="0">
                <a:latin typeface="Arial" panose="020B0604020202020204" pitchFamily="34" charset="0"/>
              </a:rPr>
              <a:t>агломерацияларға</a:t>
            </a:r>
            <a:r>
              <a:rPr lang="ru-RU" sz="1400" dirty="0" smtClean="0">
                <a:latin typeface="Arial" panose="020B0604020202020204" pitchFamily="34" charset="0"/>
              </a:rPr>
              <a:t> </a:t>
            </a:r>
            <a:r>
              <a:rPr lang="ru-RU" sz="1400" dirty="0" err="1" smtClean="0">
                <a:latin typeface="Arial" panose="020B0604020202020204" pitchFamily="34" charset="0"/>
              </a:rPr>
              <a:t>жатқызу</a:t>
            </a:r>
            <a:r>
              <a:rPr lang="ru-RU" sz="1400" dirty="0" smtClean="0">
                <a:latin typeface="Arial" panose="020B0604020202020204" pitchFamily="34" charset="0"/>
              </a:rPr>
              <a:t> </a:t>
            </a:r>
            <a:r>
              <a:rPr lang="ru-RU" sz="1400" dirty="0" err="1" smtClean="0">
                <a:latin typeface="Arial" panose="020B0604020202020204" pitchFamily="34" charset="0"/>
              </a:rPr>
              <a:t>оларды</a:t>
            </a:r>
            <a:r>
              <a:rPr lang="ru-RU" sz="1400" dirty="0" smtClean="0">
                <a:latin typeface="Arial" panose="020B0604020202020204" pitchFamily="34" charset="0"/>
              </a:rPr>
              <a:t> </a:t>
            </a:r>
            <a:r>
              <a:rPr lang="ru-RU" sz="1400" dirty="0" err="1" smtClean="0">
                <a:latin typeface="Arial" panose="020B0604020202020204" pitchFamily="34" charset="0"/>
              </a:rPr>
              <a:t>қалыптастыру</a:t>
            </a:r>
            <a:r>
              <a:rPr lang="ru-RU" sz="1400" dirty="0" smtClean="0">
                <a:latin typeface="Arial" panose="020B0604020202020204" pitchFamily="34" charset="0"/>
              </a:rPr>
              <a:t> </a:t>
            </a:r>
            <a:r>
              <a:rPr lang="ru-RU" sz="1400" dirty="0" err="1" smtClean="0">
                <a:latin typeface="Arial" panose="020B0604020202020204" pitchFamily="34" charset="0"/>
              </a:rPr>
              <a:t>және</a:t>
            </a:r>
            <a:r>
              <a:rPr lang="ru-RU" sz="1400" dirty="0" smtClean="0">
                <a:latin typeface="Arial" panose="020B0604020202020204" pitchFamily="34" charset="0"/>
              </a:rPr>
              <a:t> </a:t>
            </a:r>
            <a:r>
              <a:rPr lang="ru-RU" sz="1400" dirty="0" err="1" smtClean="0">
                <a:latin typeface="Arial" panose="020B0604020202020204" pitchFamily="34" charset="0"/>
              </a:rPr>
              <a:t>жүргізу</a:t>
            </a:r>
            <a:r>
              <a:rPr lang="ru-RU" sz="1400" dirty="0" smtClean="0">
                <a:latin typeface="Arial" panose="020B0604020202020204" pitchFamily="34" charset="0"/>
              </a:rPr>
              <a:t> </a:t>
            </a:r>
            <a:r>
              <a:rPr lang="ru-RU" sz="1400" dirty="0" err="1" smtClean="0">
                <a:latin typeface="Arial" panose="020B0604020202020204" pitchFamily="34" charset="0"/>
              </a:rPr>
              <a:t>тәртібін</a:t>
            </a:r>
            <a:r>
              <a:rPr lang="ru-RU" sz="1400" dirty="0" smtClean="0">
                <a:latin typeface="Arial" panose="020B0604020202020204" pitchFamily="34" charset="0"/>
              </a:rPr>
              <a:t> </a:t>
            </a:r>
            <a:r>
              <a:rPr lang="ru-RU" sz="1400" dirty="0" err="1" smtClean="0">
                <a:latin typeface="Arial" panose="020B0604020202020204" pitchFamily="34" charset="0"/>
              </a:rPr>
              <a:t>уәкілетті</a:t>
            </a:r>
            <a:r>
              <a:rPr lang="ru-RU" sz="1400" dirty="0" smtClean="0">
                <a:latin typeface="Arial" panose="020B0604020202020204" pitchFamily="34" charset="0"/>
              </a:rPr>
              <a:t> орган </a:t>
            </a:r>
            <a:r>
              <a:rPr lang="ru-RU" sz="1400" dirty="0" err="1" smtClean="0">
                <a:latin typeface="Arial" panose="020B0604020202020204" pitchFamily="34" charset="0"/>
              </a:rPr>
              <a:t>айқындайтын</a:t>
            </a:r>
            <a:r>
              <a:rPr lang="ru-RU" sz="1400" dirty="0" smtClean="0">
                <a:latin typeface="Arial" panose="020B0604020202020204" pitchFamily="34" charset="0"/>
              </a:rPr>
              <a:t> </a:t>
            </a:r>
            <a:r>
              <a:rPr lang="ru-RU" sz="1400" b="1" dirty="0" err="1" smtClean="0">
                <a:latin typeface="Arial" panose="020B0604020202020204" pitchFamily="34" charset="0"/>
              </a:rPr>
              <a:t>агломерациялар</a:t>
            </a:r>
            <a:r>
              <a:rPr lang="ru-RU" sz="1400" dirty="0" smtClean="0">
                <a:latin typeface="Arial" panose="020B0604020202020204" pitchFamily="34" charset="0"/>
              </a:rPr>
              <a:t> </a:t>
            </a:r>
            <a:r>
              <a:rPr lang="ru-RU" sz="1400" b="1" dirty="0" err="1" smtClean="0">
                <a:latin typeface="Arial" panose="020B0604020202020204" pitchFamily="34" charset="0"/>
              </a:rPr>
              <a:t>тізбесіне</a:t>
            </a:r>
            <a:r>
              <a:rPr lang="ru-RU" sz="1400" b="1" dirty="0" smtClean="0">
                <a:latin typeface="Arial" panose="020B0604020202020204" pitchFamily="34" charset="0"/>
              </a:rPr>
              <a:t> </a:t>
            </a:r>
            <a:r>
              <a:rPr lang="ru-RU" sz="1400" b="1" dirty="0" err="1" smtClean="0">
                <a:latin typeface="Arial" panose="020B0604020202020204" pitchFamily="34" charset="0"/>
              </a:rPr>
              <a:t>енгізу</a:t>
            </a:r>
            <a:r>
              <a:rPr lang="ru-RU" sz="1400" b="1" dirty="0" smtClean="0">
                <a:latin typeface="Arial" panose="020B0604020202020204" pitchFamily="34" charset="0"/>
              </a:rPr>
              <a:t> </a:t>
            </a:r>
            <a:r>
              <a:rPr lang="ru-RU" sz="1400" b="1" dirty="0" err="1" smtClean="0">
                <a:latin typeface="Arial" panose="020B0604020202020204" pitchFamily="34" charset="0"/>
              </a:rPr>
              <a:t>жолымен</a:t>
            </a:r>
            <a:r>
              <a:rPr lang="ru-RU" sz="1400" b="1" dirty="0" smtClean="0">
                <a:latin typeface="Arial" panose="020B0604020202020204" pitchFamily="34" charset="0"/>
              </a:rPr>
              <a:t> </a:t>
            </a:r>
            <a:r>
              <a:rPr lang="ru-RU" sz="1400" b="1" dirty="0" err="1" smtClean="0">
                <a:latin typeface="Arial" panose="020B0604020202020204" pitchFamily="34" charset="0"/>
              </a:rPr>
              <a:t>жүзеге</a:t>
            </a:r>
            <a:r>
              <a:rPr lang="ru-RU" sz="1400" b="1" dirty="0" smtClean="0">
                <a:latin typeface="Arial" panose="020B0604020202020204" pitchFamily="34" charset="0"/>
              </a:rPr>
              <a:t> </a:t>
            </a:r>
            <a:r>
              <a:rPr lang="ru-RU" sz="1400" b="1" dirty="0" err="1" smtClean="0">
                <a:latin typeface="Arial" panose="020B0604020202020204" pitchFamily="34" charset="0"/>
              </a:rPr>
              <a:t>асырылады</a:t>
            </a:r>
            <a:r>
              <a:rPr lang="ru-RU" sz="1400" b="1" dirty="0" smtClean="0">
                <a:latin typeface="Arial" panose="020B0604020202020204" pitchFamily="34" charset="0"/>
              </a:rPr>
              <a:t> </a:t>
            </a:r>
            <a:r>
              <a:rPr lang="ru-RU" sz="1200" i="1" dirty="0">
                <a:latin typeface="Arial" panose="020B0604020202020204" pitchFamily="34" charset="0"/>
              </a:rPr>
              <a:t>(ҚР ҰЭМ </a:t>
            </a:r>
            <a:r>
              <a:rPr lang="ru-RU" sz="1200" i="1" dirty="0" err="1" smtClean="0">
                <a:latin typeface="Arial" panose="020B0604020202020204" pitchFamily="34" charset="0"/>
              </a:rPr>
              <a:t>бұйрығы</a:t>
            </a:r>
            <a:r>
              <a:rPr lang="en-US" sz="1200" i="1" dirty="0" smtClean="0">
                <a:latin typeface="Arial" panose="020B0604020202020204" pitchFamily="34" charset="0"/>
              </a:rPr>
              <a:t>)</a:t>
            </a:r>
          </a:p>
          <a:p>
            <a:pPr lvl="0" algn="just"/>
            <a:endParaRPr lang="ru-RU" sz="1400" dirty="0" smtClean="0">
              <a:latin typeface="Arial" panose="020B0604020202020204" pitchFamily="34" charset="0"/>
            </a:endParaRPr>
          </a:p>
          <a:p>
            <a:pPr lvl="0" algn="just"/>
            <a:endParaRPr lang="en-US" sz="1400" dirty="0">
              <a:latin typeface="Arial" panose="020B0604020202020204" pitchFamily="34" charset="0"/>
            </a:endParaRPr>
          </a:p>
          <a:p>
            <a:pPr lvl="0" algn="just"/>
            <a:r>
              <a:rPr lang="ru-RU" sz="1400" dirty="0" err="1">
                <a:latin typeface="Arial" panose="020B0604020202020204" pitchFamily="34" charset="0"/>
              </a:rPr>
              <a:t>Агломерациялардың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тізбесі</a:t>
            </a:r>
            <a:r>
              <a:rPr lang="ru-RU" sz="1400" dirty="0">
                <a:latin typeface="Arial" panose="020B0604020202020204" pitchFamily="34" charset="0"/>
              </a:rPr>
              <a:t> мен </a:t>
            </a:r>
            <a:r>
              <a:rPr lang="ru-RU" sz="1400" dirty="0" err="1">
                <a:latin typeface="Arial" panose="020B0604020202020204" pitchFamily="34" charset="0"/>
              </a:rPr>
              <a:t>құрамы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b="1" dirty="0">
                <a:latin typeface="Arial" panose="020B0604020202020204" pitchFamily="34" charset="0"/>
              </a:rPr>
              <a:t>ҚР </a:t>
            </a:r>
            <a:r>
              <a:rPr lang="ru-RU" sz="1400" b="1" dirty="0" err="1">
                <a:latin typeface="Arial" panose="020B0604020202020204" pitchFamily="34" charset="0"/>
              </a:rPr>
              <a:t>Үкіметінің</a:t>
            </a:r>
            <a:r>
              <a:rPr lang="ru-RU" sz="1400" b="1" dirty="0"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</a:rPr>
              <a:t>қаулысымен</a:t>
            </a:r>
            <a:r>
              <a:rPr lang="ru-RU" sz="1400" b="1" dirty="0"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</a:rPr>
              <a:t>бекітіледі</a:t>
            </a:r>
            <a:endParaRPr lang="ru-RU" sz="1400" b="1" dirty="0" smtClean="0">
              <a:solidFill>
                <a:srgbClr val="00B050"/>
              </a:solidFill>
              <a:latin typeface="Arial" panose="020B0604020202020204" pitchFamily="34" charset="0"/>
              <a:cs typeface="Arial Narrow" panose="020B0606020202030204"/>
            </a:endParaRPr>
          </a:p>
          <a:p>
            <a:pPr lvl="0" algn="just"/>
            <a:endParaRPr lang="kk-KZ" sz="1400" dirty="0" smtClean="0">
              <a:solidFill>
                <a:srgbClr val="00B050"/>
              </a:solidFill>
              <a:latin typeface="Arial" panose="020B0604020202020204" pitchFamily="34" charset="0"/>
              <a:cs typeface="Arial Narrow" panose="020B0606020202030204"/>
            </a:endParaRPr>
          </a:p>
          <a:p>
            <a:pPr lvl="0" algn="just"/>
            <a:endParaRPr lang="en-US" sz="1400" dirty="0">
              <a:solidFill>
                <a:srgbClr val="00B050"/>
              </a:solidFill>
              <a:latin typeface="Arial" panose="020B0604020202020204" pitchFamily="34" charset="0"/>
              <a:cs typeface="Arial Narrow" panose="020B0606020202030204"/>
            </a:endParaRPr>
          </a:p>
          <a:p>
            <a:pPr lvl="0" algn="just"/>
            <a:r>
              <a:rPr lang="ru-RU" sz="1400" dirty="0" err="1">
                <a:latin typeface="Arial" panose="020B0604020202020204" pitchFamily="34" charset="0"/>
              </a:rPr>
              <a:t>Елді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мекендерді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агломерациялар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тізбесі</a:t>
            </a:r>
            <a:r>
              <a:rPr lang="ru-RU" sz="1400" dirty="0">
                <a:latin typeface="Arial" panose="020B0604020202020204" pitchFamily="34" charset="0"/>
              </a:rPr>
              <a:t> мен </a:t>
            </a:r>
            <a:r>
              <a:rPr lang="ru-RU" sz="1400" dirty="0" err="1">
                <a:latin typeface="Arial" panose="020B0604020202020204" pitchFamily="34" charset="0"/>
              </a:rPr>
              <a:t>құрамына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енгізу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елді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мекендері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агломерацияға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кіретін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астананың</a:t>
            </a:r>
            <a:r>
              <a:rPr lang="ru-RU" sz="1400" dirty="0">
                <a:latin typeface="Arial" panose="020B0604020202020204" pitchFamily="34" charset="0"/>
              </a:rPr>
              <a:t>, </a:t>
            </a:r>
            <a:r>
              <a:rPr lang="ru-RU" sz="1400" dirty="0" err="1">
                <a:latin typeface="Arial" panose="020B0604020202020204" pitchFamily="34" charset="0"/>
              </a:rPr>
              <a:t>республикалық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маңызы</a:t>
            </a:r>
            <a:r>
              <a:rPr lang="ru-RU" sz="1400" dirty="0">
                <a:latin typeface="Arial" panose="020B0604020202020204" pitchFamily="34" charset="0"/>
              </a:rPr>
              <a:t> бар </a:t>
            </a:r>
            <a:r>
              <a:rPr lang="ru-RU" sz="1400" dirty="0" err="1">
                <a:latin typeface="Arial" panose="020B0604020202020204" pitchFamily="34" charset="0"/>
              </a:rPr>
              <a:t>қаланың</a:t>
            </a:r>
            <a:r>
              <a:rPr lang="ru-RU" sz="1400" dirty="0">
                <a:latin typeface="Arial" panose="020B0604020202020204" pitchFamily="34" charset="0"/>
              </a:rPr>
              <a:t>, </a:t>
            </a:r>
            <a:r>
              <a:rPr lang="ru-RU" sz="1400" dirty="0" err="1">
                <a:latin typeface="Arial" panose="020B0604020202020204" pitchFamily="34" charset="0"/>
              </a:rPr>
              <a:t>облыстың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же</a:t>
            </a:r>
            <a:r>
              <a:rPr lang="ru-RU" sz="1400" b="1" dirty="0" err="1">
                <a:latin typeface="Arial" panose="020B0604020202020204" pitchFamily="34" charset="0"/>
              </a:rPr>
              <a:t>ргілікті</a:t>
            </a:r>
            <a:r>
              <a:rPr lang="ru-RU" sz="1400" b="1" dirty="0"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</a:rPr>
              <a:t>атқарушы</a:t>
            </a:r>
            <a:r>
              <a:rPr lang="ru-RU" sz="1400" b="1" dirty="0"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</a:rPr>
              <a:t>органдарымен</a:t>
            </a:r>
            <a:r>
              <a:rPr lang="ru-RU" sz="1400" b="1" dirty="0"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</a:rPr>
              <a:t>келісім</a:t>
            </a:r>
            <a:r>
              <a:rPr lang="ru-RU" sz="1400" b="1" dirty="0"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</a:rPr>
              <a:t>бойынша</a:t>
            </a:r>
            <a:r>
              <a:rPr lang="ru-RU" sz="1400" b="1" dirty="0"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</a:rPr>
              <a:t>жүзеге</a:t>
            </a:r>
            <a:r>
              <a:rPr lang="ru-RU" sz="1400" b="1" dirty="0"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</a:rPr>
              <a:t>асырылады</a:t>
            </a:r>
            <a:endParaRPr lang="ru-RU" sz="1400" b="1" dirty="0">
              <a:latin typeface="Arial" panose="020B0604020202020204" pitchFamily="34" charset="0"/>
            </a:endParaRPr>
          </a:p>
        </p:txBody>
      </p:sp>
      <p:pic>
        <p:nvPicPr>
          <p:cNvPr id="213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4002" y="2189371"/>
            <a:ext cx="277616" cy="252000"/>
          </a:xfrm>
          <a:prstGeom prst="rect">
            <a:avLst/>
          </a:prstGeom>
        </p:spPr>
      </p:pic>
      <p:pic>
        <p:nvPicPr>
          <p:cNvPr id="21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4002" y="3213754"/>
            <a:ext cx="277616" cy="252000"/>
          </a:xfrm>
          <a:prstGeom prst="rect">
            <a:avLst/>
          </a:prstGeom>
        </p:spPr>
      </p:pic>
      <p:pic>
        <p:nvPicPr>
          <p:cNvPr id="21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4002" y="3884453"/>
            <a:ext cx="27761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57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Прямая соединительная линия 30"/>
          <p:cNvCxnSpPr>
            <a:stCxn id="41" idx="6"/>
          </p:cNvCxnSpPr>
          <p:nvPr/>
        </p:nvCxnSpPr>
        <p:spPr>
          <a:xfrm flipV="1">
            <a:off x="2083265" y="2433197"/>
            <a:ext cx="7051682" cy="1"/>
          </a:xfrm>
          <a:prstGeom prst="line">
            <a:avLst/>
          </a:prstGeom>
          <a:ln w="15875">
            <a:solidFill>
              <a:srgbClr val="1D499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6929416" y="575613"/>
            <a:ext cx="2084673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/>
              </a:rPr>
              <a:t>Республик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/>
              </a:rPr>
              <a:t>деңге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839126" y="2449100"/>
            <a:ext cx="2295821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/>
              </a:rPr>
              <a:t>Аймақтық</a:t>
            </a:r>
            <a:r>
              <a:rPr lang="ru-RU" sz="1400" dirty="0">
                <a:solidFill>
                  <a:srgbClr val="002060"/>
                </a:solidFill>
                <a:latin typeface="Arial" panose="020B0604020202020204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/>
              </a:rPr>
              <a:t>деңге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06093" y="85210"/>
            <a:ext cx="83318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2000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Агломерацияны</a:t>
            </a:r>
            <a:r>
              <a:rPr lang="ru-RU" sz="2000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2000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басқару</a:t>
            </a:r>
            <a:r>
              <a:rPr lang="ru-RU" sz="2000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2000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моделі</a:t>
            </a:r>
            <a:endParaRPr kumimoji="0" lang="ru-RU" sz="2000" b="1" i="0" u="none" strike="noStrike" kern="1200" cap="small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528559" y="4053147"/>
            <a:ext cx="2533971" cy="753857"/>
          </a:xfrm>
          <a:prstGeom prst="round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 w="19050" cap="flat" cmpd="sng" algn="ctr">
            <a:solidFill>
              <a:schemeClr val="accent5"/>
            </a:solidFill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6507681" y="4060743"/>
            <a:ext cx="257572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Облыстар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аудандарының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әкімдіктері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мен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мәслихаттары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, ҮЕҰ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өкілдері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grpSp>
        <p:nvGrpSpPr>
          <p:cNvPr id="37" name="Группа 36"/>
          <p:cNvGrpSpPr/>
          <p:nvPr/>
        </p:nvGrpSpPr>
        <p:grpSpPr>
          <a:xfrm>
            <a:off x="489185" y="1685963"/>
            <a:ext cx="1594080" cy="1494469"/>
            <a:chOff x="292142" y="1781974"/>
            <a:chExt cx="2879999" cy="2880000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292142" y="1781974"/>
              <a:ext cx="2879999" cy="2880000"/>
              <a:chOff x="997047" y="1860292"/>
              <a:chExt cx="2160000" cy="2160000"/>
            </a:xfrm>
          </p:grpSpPr>
          <p:grpSp>
            <p:nvGrpSpPr>
              <p:cNvPr id="40" name="Группа 39"/>
              <p:cNvGrpSpPr/>
              <p:nvPr/>
            </p:nvGrpSpPr>
            <p:grpSpPr>
              <a:xfrm>
                <a:off x="1087048" y="1950293"/>
                <a:ext cx="1980000" cy="1980000"/>
                <a:chOff x="1087048" y="1950293"/>
                <a:chExt cx="1980000" cy="1980000"/>
              </a:xfrm>
            </p:grpSpPr>
            <p:sp>
              <p:nvSpPr>
                <p:cNvPr id="42" name="Овал 41"/>
                <p:cNvSpPr/>
                <p:nvPr/>
              </p:nvSpPr>
              <p:spPr>
                <a:xfrm>
                  <a:off x="1087048" y="1950293"/>
                  <a:ext cx="1980000" cy="1980000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  <a:alpha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9015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Овал 42"/>
                <p:cNvSpPr/>
                <p:nvPr/>
              </p:nvSpPr>
              <p:spPr>
                <a:xfrm>
                  <a:off x="1183970" y="2040292"/>
                  <a:ext cx="1800000" cy="1800000"/>
                </a:xfrm>
                <a:prstGeom prst="ellipse">
                  <a:avLst/>
                </a:prstGeom>
                <a:solidFill>
                  <a:schemeClr val="accent1">
                    <a:alpha val="9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9015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1" i="0" u="none" strike="noStrike" kern="1200" cap="small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1" name="Овал 40"/>
              <p:cNvSpPr/>
              <p:nvPr/>
            </p:nvSpPr>
            <p:spPr>
              <a:xfrm>
                <a:off x="997047" y="1860292"/>
                <a:ext cx="2160000" cy="2160000"/>
              </a:xfrm>
              <a:prstGeom prst="ellipse">
                <a:avLst/>
              </a:prstGeom>
              <a:noFill/>
              <a:ln w="19050">
                <a:solidFill>
                  <a:srgbClr val="1D4999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9015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9" name="TextBox 38"/>
            <p:cNvSpPr txBox="1"/>
            <p:nvPr/>
          </p:nvSpPr>
          <p:spPr>
            <a:xfrm>
              <a:off x="412140" y="2677103"/>
              <a:ext cx="2655094" cy="8896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9015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b="1" dirty="0" err="1" smtClean="0">
                  <a:solidFill>
                    <a:prstClr val="white"/>
                  </a:solidFill>
                  <a:latin typeface="Arial" panose="020B0604020202020204" pitchFamily="34" charset="0"/>
                </a:rPr>
                <a:t>Агломерациялар</a:t>
              </a:r>
              <a:r>
                <a:rPr lang="ru-RU" sz="1200" b="1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 </a:t>
              </a:r>
            </a:p>
            <a:p>
              <a:pPr marL="0" marR="0" lvl="0" indent="0" algn="ctr" defTabSz="69015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b="1" dirty="0" err="1">
                  <a:solidFill>
                    <a:prstClr val="white"/>
                  </a:solidFill>
                  <a:latin typeface="Arial" panose="020B0604020202020204" pitchFamily="34" charset="0"/>
                </a:rPr>
                <a:t>б</a:t>
              </a:r>
              <a:r>
                <a:rPr kumimoji="0" lang="ru-RU" sz="12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ойынша</a:t>
              </a: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 </a:t>
              </a:r>
              <a:r>
                <a:rPr kumimoji="0" lang="ru-RU" sz="12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ке</a:t>
              </a:r>
              <a:r>
                <a:rPr kumimoji="0" lang="kk-KZ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ңес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sp>
        <p:nvSpPr>
          <p:cNvPr id="44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743325" y="4053147"/>
            <a:ext cx="2443456" cy="996589"/>
          </a:xfrm>
          <a:prstGeom prst="round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 w="19050" cap="flat" cmpd="sng" algn="ctr">
            <a:solidFill>
              <a:schemeClr val="accent5"/>
            </a:solidFill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620907" y="4095629"/>
            <a:ext cx="25757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Облыстардың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әкімдіктері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мен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мәслихаттары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, </a:t>
            </a:r>
            <a:r>
              <a:rPr lang="ru-RU" altLang="ru-RU" sz="1400" dirty="0" smtClean="0">
                <a:solidFill>
                  <a:srgbClr val="002060"/>
                </a:solidFill>
                <a:latin typeface="Arial" panose="020B0604020202020204" pitchFamily="34" charset="0"/>
              </a:rPr>
              <a:t>«</a:t>
            </a:r>
            <a:r>
              <a:rPr lang="ru-RU" altLang="ru-RU" sz="1400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Атамекен</a:t>
            </a:r>
            <a:r>
              <a:rPr lang="ru-RU" altLang="ru-RU" sz="1400" dirty="0" smtClean="0">
                <a:solidFill>
                  <a:srgbClr val="002060"/>
                </a:solidFill>
                <a:latin typeface="Arial" panose="020B0604020202020204" pitchFamily="34" charset="0"/>
              </a:rPr>
              <a:t>» 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ҰКП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және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ҮЕҰ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өкілдері</a:t>
            </a:r>
            <a:endParaRPr lang="ru-RU" altLang="ru-RU" sz="14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46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652811" y="2777223"/>
            <a:ext cx="2533971" cy="926214"/>
          </a:xfrm>
          <a:prstGeom prst="round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82014" y="2825390"/>
            <a:ext cx="267556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altLang="ru-RU" sz="1200" dirty="0" err="1">
                <a:solidFill>
                  <a:srgbClr val="002060"/>
                </a:solidFill>
                <a:latin typeface="Arial" panose="020B0604020202020204" pitchFamily="34" charset="0"/>
              </a:rPr>
              <a:t>Республикалық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srgbClr val="002060"/>
                </a:solidFill>
                <a:latin typeface="Arial" panose="020B0604020202020204" pitchFamily="34" charset="0"/>
              </a:rPr>
              <a:t>маңызы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</a:rPr>
              <a:t> бар </a:t>
            </a:r>
            <a:r>
              <a:rPr lang="ru-RU" altLang="ru-RU" sz="1200" dirty="0" err="1">
                <a:solidFill>
                  <a:srgbClr val="002060"/>
                </a:solidFill>
                <a:latin typeface="Arial" panose="020B0604020202020204" pitchFamily="34" charset="0"/>
              </a:rPr>
              <a:t>қалалар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</a:rPr>
              <a:t> мен </a:t>
            </a:r>
            <a:r>
              <a:rPr lang="ru-RU" altLang="ru-RU" sz="1200" dirty="0" err="1">
                <a:solidFill>
                  <a:srgbClr val="002060"/>
                </a:solidFill>
                <a:latin typeface="Arial" panose="020B0604020202020204" pitchFamily="34" charset="0"/>
              </a:rPr>
              <a:t>астананың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200" dirty="0" err="1">
                <a:solidFill>
                  <a:srgbClr val="002060"/>
                </a:solidFill>
                <a:latin typeface="Arial" panose="020B0604020202020204" pitchFamily="34" charset="0"/>
              </a:rPr>
              <a:t>әкімдіктері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</a:rPr>
              <a:t> мен </a:t>
            </a:r>
            <a:r>
              <a:rPr lang="ru-RU" altLang="ru-RU" sz="1200" dirty="0" err="1">
                <a:solidFill>
                  <a:srgbClr val="002060"/>
                </a:solidFill>
                <a:latin typeface="Arial" panose="020B0604020202020204" pitchFamily="34" charset="0"/>
              </a:rPr>
              <a:t>мәслихаттары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</a:rPr>
              <a:t>, </a:t>
            </a:r>
            <a:r>
              <a:rPr lang="ru-RU" altLang="ru-RU" sz="1200" dirty="0" smtClean="0">
                <a:solidFill>
                  <a:srgbClr val="002060"/>
                </a:solidFill>
                <a:latin typeface="Arial" panose="020B0604020202020204" pitchFamily="34" charset="0"/>
              </a:rPr>
              <a:t>«</a:t>
            </a:r>
            <a:r>
              <a:rPr lang="ru-RU" altLang="ru-RU" sz="1200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Атамекен</a:t>
            </a:r>
            <a:r>
              <a:rPr lang="ru-RU" altLang="ru-RU" sz="1200" dirty="0" smtClean="0">
                <a:solidFill>
                  <a:srgbClr val="002060"/>
                </a:solidFill>
                <a:latin typeface="Arial" panose="020B0604020202020204" pitchFamily="34" charset="0"/>
              </a:rPr>
              <a:t>» 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</a:rPr>
              <a:t>ҰКП </a:t>
            </a:r>
            <a:r>
              <a:rPr lang="ru-RU" altLang="ru-RU" sz="1200" dirty="0" err="1">
                <a:solidFill>
                  <a:srgbClr val="002060"/>
                </a:solidFill>
                <a:latin typeface="Arial" panose="020B0604020202020204" pitchFamily="34" charset="0"/>
              </a:rPr>
              <a:t>және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</a:rPr>
              <a:t> ҮЕҰ </a:t>
            </a:r>
            <a:r>
              <a:rPr lang="ru-RU" altLang="ru-RU" sz="1200" dirty="0" err="1">
                <a:solidFill>
                  <a:srgbClr val="002060"/>
                </a:solidFill>
                <a:latin typeface="Arial" panose="020B0604020202020204" pitchFamily="34" charset="0"/>
              </a:rPr>
              <a:t>өкілдері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8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719" y="3586104"/>
            <a:ext cx="2613915" cy="700222"/>
          </a:xfrm>
          <a:prstGeom prst="roundRect">
            <a:avLst/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 w="19050" cap="flat" cmpd="sng" algn="ctr">
            <a:solidFill>
              <a:srgbClr val="1D4999"/>
            </a:solidFill>
            <a:prstDash val="sysDash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43549" y="3650785"/>
            <a:ext cx="245825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ергілікті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агломерация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еңесі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cxnSp>
        <p:nvCxnSpPr>
          <p:cNvPr id="50" name="Прямая со стрелкой 49"/>
          <p:cNvCxnSpPr>
            <a:stCxn id="36" idx="1"/>
            <a:endCxn id="44" idx="3"/>
          </p:cNvCxnSpPr>
          <p:nvPr/>
        </p:nvCxnSpPr>
        <p:spPr>
          <a:xfrm flipH="1">
            <a:off x="6186781" y="4430075"/>
            <a:ext cx="320900" cy="121367"/>
          </a:xfrm>
          <a:prstGeom prst="straightConnector1">
            <a:avLst/>
          </a:prstGeom>
          <a:ln w="12700">
            <a:solidFill>
              <a:srgbClr val="1D4999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Соединительная линия уступом 50"/>
          <p:cNvCxnSpPr>
            <a:stCxn id="47" idx="1"/>
            <a:endCxn id="48" idx="3"/>
          </p:cNvCxnSpPr>
          <p:nvPr/>
        </p:nvCxnSpPr>
        <p:spPr>
          <a:xfrm rot="10800000" flipV="1">
            <a:off x="2679634" y="3240889"/>
            <a:ext cx="902380" cy="695326"/>
          </a:xfrm>
          <a:prstGeom prst="bentConnector3">
            <a:avLst/>
          </a:prstGeom>
          <a:ln w="12700">
            <a:solidFill>
              <a:srgbClr val="1D4999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Соединительная линия уступом 52"/>
          <p:cNvCxnSpPr/>
          <p:nvPr/>
        </p:nvCxnSpPr>
        <p:spPr>
          <a:xfrm rot="10800000">
            <a:off x="2650804" y="3936214"/>
            <a:ext cx="973179" cy="493861"/>
          </a:xfrm>
          <a:prstGeom prst="bentConnector3">
            <a:avLst/>
          </a:prstGeom>
          <a:ln w="12700">
            <a:solidFill>
              <a:srgbClr val="1D4999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>
            <a:endCxn id="41" idx="2"/>
          </p:cNvCxnSpPr>
          <p:nvPr/>
        </p:nvCxnSpPr>
        <p:spPr>
          <a:xfrm>
            <a:off x="0" y="2433197"/>
            <a:ext cx="489185" cy="1"/>
          </a:xfrm>
          <a:prstGeom prst="line">
            <a:avLst/>
          </a:prstGeom>
          <a:ln w="15875">
            <a:solidFill>
              <a:srgbClr val="1D499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>
            <a:endCxn id="41" idx="4"/>
          </p:cNvCxnSpPr>
          <p:nvPr/>
        </p:nvCxnSpPr>
        <p:spPr>
          <a:xfrm flipV="1">
            <a:off x="1275133" y="3180432"/>
            <a:ext cx="11092" cy="330992"/>
          </a:xfrm>
          <a:prstGeom prst="straightConnector1">
            <a:avLst/>
          </a:prstGeom>
          <a:ln w="12700">
            <a:solidFill>
              <a:srgbClr val="1D4999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652809" y="1042914"/>
            <a:ext cx="4866241" cy="1086514"/>
          </a:xfrm>
          <a:prstGeom prst="roundRect">
            <a:avLst/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 w="19050" cap="flat" cmpd="sng" algn="ctr">
            <a:solidFill>
              <a:srgbClr val="1D4999"/>
            </a:solidFill>
            <a:prstDash val="sysDash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601431" y="1262067"/>
            <a:ext cx="503346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Орталық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әне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ергілікті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тқарушы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органдар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, Парламент, ҮЕҰ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депутаттары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cxnSp>
        <p:nvCxnSpPr>
          <p:cNvPr id="59" name="Соединительная линия уступом 58"/>
          <p:cNvCxnSpPr/>
          <p:nvPr/>
        </p:nvCxnSpPr>
        <p:spPr>
          <a:xfrm rot="10800000" flipV="1">
            <a:off x="2025200" y="1331463"/>
            <a:ext cx="1595707" cy="818993"/>
          </a:xfrm>
          <a:prstGeom prst="bentConnector3">
            <a:avLst/>
          </a:prstGeom>
          <a:ln w="12700">
            <a:solidFill>
              <a:srgbClr val="1D4999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80353" y="4972204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5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61" name="Овал 60"/>
          <p:cNvSpPr/>
          <p:nvPr/>
        </p:nvSpPr>
        <p:spPr>
          <a:xfrm>
            <a:off x="8945217" y="4979801"/>
            <a:ext cx="117313" cy="163699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62192" tIns="162192" rIns="162192" bIns="162192" numCol="1" spcCol="1270" rtlCol="0" anchor="ctr" anchorCtr="0">
            <a:noAutofit/>
          </a:bodyPr>
          <a:lstStyle/>
          <a:p>
            <a:pPr marL="180975" indent="-180975" algn="ctr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400" cap="small" dirty="0" smtClean="0">
              <a:solidFill>
                <a:schemeClr val="bg1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97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31028" y="85210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+mn-cs"/>
              </a:rPr>
              <a:t>Республикалық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+mn-cs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+mn-cs"/>
              </a:rPr>
              <a:t>деңгейдегі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+mn-cs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+mn-cs"/>
              </a:rPr>
              <a:t>басқару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+mn-cs"/>
              </a:rPr>
              <a:t> органы</a:t>
            </a:r>
          </a:p>
        </p:txBody>
      </p:sp>
      <p:sp>
        <p:nvSpPr>
          <p:cNvPr id="27" name="Прямоугольник 15"/>
          <p:cNvSpPr/>
          <p:nvPr/>
        </p:nvSpPr>
        <p:spPr>
          <a:xfrm>
            <a:off x="735894" y="1658458"/>
            <a:ext cx="8273087" cy="2916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00"/>
              </a:spcAft>
            </a:pPr>
            <a:r>
              <a:rPr lang="ru-RU" sz="1200" dirty="0" err="1">
                <a:latin typeface="Arial" panose="020B0604020202020204"/>
                <a:cs typeface="Arial Narrow" panose="020B0606020202030204"/>
              </a:rPr>
              <a:t>Агломерацияларды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дамыту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мәселелерін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ведомствоаралық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үйлестіруді</a:t>
            </a:r>
            <a:r>
              <a:rPr lang="ru-RU" sz="1200" b="1" i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үзеге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сырады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spcAft>
                <a:spcPts val="500"/>
              </a:spcAft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200" dirty="0" err="1">
                <a:latin typeface="Arial" panose="020B0604020202020204"/>
                <a:cs typeface="Arial Narrow" panose="020B0606020202030204"/>
              </a:rPr>
              <a:t>Агломерацияларды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дамыту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саласындағы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НҚА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жобаларына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ұсыныстар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әзірлейді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spcAft>
                <a:spcPts val="500"/>
              </a:spcAft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200" dirty="0" err="1">
                <a:latin typeface="Arial" panose="020B0604020202020204"/>
                <a:cs typeface="Arial Narrow" panose="020B0606020202030204"/>
              </a:rPr>
              <a:t>Агломерацияларды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дамытудың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кешенді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жоспарларының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обаларын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еліседі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</a:p>
          <a:p>
            <a:pPr>
              <a:spcAft>
                <a:spcPts val="500"/>
              </a:spcAft>
            </a:pPr>
            <a:r>
              <a:rPr lang="ru-RU" sz="1100" i="1" dirty="0">
                <a:latin typeface="Arial" panose="020B0604020202020204"/>
                <a:cs typeface="Arial Narrow" panose="020B0606020202030204"/>
              </a:rPr>
              <a:t>(</a:t>
            </a:r>
            <a:r>
              <a:rPr lang="ru-RU" sz="1100" i="1" dirty="0" err="1">
                <a:latin typeface="Arial" panose="020B0604020202020204"/>
                <a:cs typeface="Arial Narrow" panose="020B0606020202030204"/>
              </a:rPr>
              <a:t>мемлекеттік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100" i="1" dirty="0" err="1">
                <a:latin typeface="Arial" panose="020B0604020202020204"/>
                <a:cs typeface="Arial Narrow" panose="020B0606020202030204"/>
              </a:rPr>
              <a:t>жоспарлау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100" i="1" dirty="0" err="1">
                <a:latin typeface="Arial" panose="020B0604020202020204"/>
                <a:cs typeface="Arial Narrow" panose="020B0606020202030204"/>
              </a:rPr>
              <a:t>Жүйесі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100" i="1" dirty="0" err="1">
                <a:latin typeface="Arial" panose="020B0604020202020204"/>
                <a:cs typeface="Arial Narrow" panose="020B0606020202030204"/>
              </a:rPr>
              <a:t>шеңберінде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)</a:t>
            </a:r>
          </a:p>
          <a:p>
            <a:pPr>
              <a:spcAft>
                <a:spcPts val="500"/>
              </a:spcAft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200" dirty="0" err="1">
                <a:latin typeface="Arial" panose="020B0604020202020204"/>
                <a:cs typeface="Arial Narrow" panose="020B0606020202030204"/>
              </a:rPr>
              <a:t>Агломерациялар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жөніндегі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кеңесті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қалыптастыру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оның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қызметін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ұйымдастыру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мәселелері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 smtClean="0">
                <a:latin typeface="Arial" panose="020B0604020202020204"/>
                <a:cs typeface="Arial Narrow" panose="020B0606020202030204"/>
              </a:rPr>
              <a:t>агломерациялар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жөніндегі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 smtClean="0">
                <a:latin typeface="Arial" panose="020B0604020202020204"/>
                <a:cs typeface="Arial Narrow" panose="020B0606020202030204"/>
              </a:rPr>
              <a:t>кеңес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туралы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ережеде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белгіленеді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spcAft>
                <a:spcPts val="500"/>
              </a:spcAft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200" dirty="0">
                <a:latin typeface="Arial" panose="020B0604020202020204"/>
                <a:cs typeface="Arial Narrow" panose="020B0606020202030204"/>
              </a:rPr>
              <a:t>Алматы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агломерациясын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басқару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жөніндегі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қолданыстағы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кеңестің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атауы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мен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функцияларын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err="1">
                <a:latin typeface="Arial" panose="020B0604020202020204"/>
                <a:cs typeface="Arial Narrow" panose="020B0606020202030204"/>
              </a:rPr>
              <a:t>өзгерту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олымен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ұрылатын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болады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(ҚР Премьер-</a:t>
            </a:r>
            <a:r>
              <a:rPr lang="ru-RU" sz="1100" i="1" dirty="0" err="1">
                <a:latin typeface="Arial" panose="020B0604020202020204"/>
                <a:cs typeface="Arial Narrow" panose="020B0606020202030204"/>
              </a:rPr>
              <a:t>Министрінің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100" i="1" dirty="0" smtClean="0">
                <a:latin typeface="Arial" panose="020B0604020202020204"/>
                <a:cs typeface="Arial Narrow" panose="020B0606020202030204"/>
              </a:rPr>
              <a:t>2021 </a:t>
            </a:r>
            <a:r>
              <a:rPr lang="ru-RU" sz="1100" i="1" dirty="0" err="1" smtClean="0">
                <a:latin typeface="Arial" panose="020B0604020202020204"/>
                <a:cs typeface="Arial Narrow" panose="020B0606020202030204"/>
              </a:rPr>
              <a:t>жылғы</a:t>
            </a:r>
            <a:r>
              <a:rPr lang="ru-RU" sz="1100" i="1" dirty="0" smtClean="0">
                <a:latin typeface="Arial" panose="020B0604020202020204"/>
                <a:cs typeface="Arial Narrow" panose="020B0606020202030204"/>
              </a:rPr>
              <a:t> 10 </a:t>
            </a:r>
            <a:r>
              <a:rPr lang="ru-RU" sz="1100" i="1" dirty="0" err="1" smtClean="0">
                <a:latin typeface="Arial" panose="020B0604020202020204"/>
                <a:cs typeface="Arial Narrow" panose="020B0606020202030204"/>
              </a:rPr>
              <a:t>маусымдағы</a:t>
            </a:r>
            <a:r>
              <a:rPr lang="ru-RU" sz="1100" i="1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№ 106-ө </a:t>
            </a:r>
            <a:r>
              <a:rPr lang="ru-RU" sz="1100" i="1" dirty="0" err="1">
                <a:latin typeface="Arial" panose="020B0604020202020204"/>
                <a:cs typeface="Arial Narrow" panose="020B0606020202030204"/>
              </a:rPr>
              <a:t>Өкімі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)</a:t>
            </a:r>
          </a:p>
        </p:txBody>
      </p:sp>
      <p:sp>
        <p:nvSpPr>
          <p:cNvPr id="28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1122948" y="898511"/>
            <a:ext cx="8525800" cy="50209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гломерациялар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өніндегі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еңес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</a:p>
          <a:p>
            <a:r>
              <a:rPr lang="ru-RU" altLang="ru-RU" sz="1400" b="1" i="1" dirty="0">
                <a:solidFill>
                  <a:srgbClr val="002060"/>
                </a:solidFill>
                <a:latin typeface="Arial" panose="020B0604020202020204" pitchFamily="34" charset="0"/>
              </a:rPr>
              <a:t>(ҚР </a:t>
            </a:r>
            <a:r>
              <a:rPr lang="ru-RU" altLang="ru-RU" sz="1400" b="1" i="1" dirty="0" err="1">
                <a:solidFill>
                  <a:srgbClr val="002060"/>
                </a:solidFill>
                <a:latin typeface="Arial" panose="020B0604020202020204" pitchFamily="34" charset="0"/>
              </a:rPr>
              <a:t>Үкіметі</a:t>
            </a:r>
            <a:r>
              <a:rPr lang="ru-RU" altLang="ru-RU" sz="1400" b="1" i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i="1" dirty="0" err="1">
                <a:solidFill>
                  <a:srgbClr val="002060"/>
                </a:solidFill>
                <a:latin typeface="Arial" panose="020B0604020202020204" pitchFamily="34" charset="0"/>
              </a:rPr>
              <a:t>жанындағы</a:t>
            </a:r>
            <a:r>
              <a:rPr lang="ru-RU" altLang="ru-RU" sz="1400" b="1" i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i="1" dirty="0" err="1">
                <a:solidFill>
                  <a:srgbClr val="002060"/>
                </a:solidFill>
                <a:latin typeface="Arial" panose="020B0604020202020204" pitchFamily="34" charset="0"/>
              </a:rPr>
              <a:t>консультативтік-кеңесші</a:t>
            </a:r>
            <a:r>
              <a:rPr lang="ru-RU" altLang="ru-RU" sz="1400" b="1" i="1" dirty="0">
                <a:solidFill>
                  <a:srgbClr val="002060"/>
                </a:solidFill>
                <a:latin typeface="Arial" panose="020B0604020202020204" pitchFamily="34" charset="0"/>
              </a:rPr>
              <a:t> орган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)</a:t>
            </a:r>
            <a:endParaRPr lang="en-US" sz="1100" i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grpSp>
        <p:nvGrpSpPr>
          <p:cNvPr id="29" name="Группа 28"/>
          <p:cNvGrpSpPr/>
          <p:nvPr/>
        </p:nvGrpSpPr>
        <p:grpSpPr>
          <a:xfrm>
            <a:off x="624601" y="963914"/>
            <a:ext cx="360724" cy="360000"/>
            <a:chOff x="4930800" y="1027691"/>
            <a:chExt cx="360000" cy="360000"/>
          </a:xfrm>
        </p:grpSpPr>
        <p:sp>
          <p:nvSpPr>
            <p:cNvPr id="30" name="Овал 4">
              <a:extLst>
                <a:ext uri="{FF2B5EF4-FFF2-40B4-BE49-F238E27FC236}">
                  <a16:creationId xmlns:a16="http://schemas.microsoft.com/office/drawing/2014/main" xmlns="" id="{FF318A34-2E73-4967-8110-A1F4B38D0172}"/>
                </a:ext>
              </a:extLst>
            </p:cNvPr>
            <p:cNvSpPr/>
            <p:nvPr/>
          </p:nvSpPr>
          <p:spPr>
            <a:xfrm>
              <a:off x="4930800" y="1027691"/>
              <a:ext cx="360000" cy="360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3" name="Picture 12" descr="C:\Users\A.Meirembayev\Downloads\team-leader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87277" y="1067534"/>
              <a:ext cx="252000" cy="2551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4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418920" y="1722369"/>
            <a:ext cx="277616" cy="252000"/>
          </a:xfrm>
          <a:prstGeom prst="rect">
            <a:avLst/>
          </a:prstGeom>
        </p:spPr>
      </p:pic>
      <p:pic>
        <p:nvPicPr>
          <p:cNvPr id="3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416281" y="2181324"/>
            <a:ext cx="277616" cy="252000"/>
          </a:xfrm>
          <a:prstGeom prst="rect">
            <a:avLst/>
          </a:prstGeom>
        </p:spPr>
      </p:pic>
      <p:pic>
        <p:nvPicPr>
          <p:cNvPr id="3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419525" y="2706489"/>
            <a:ext cx="277616" cy="252000"/>
          </a:xfrm>
          <a:prstGeom prst="rect">
            <a:avLst/>
          </a:prstGeom>
        </p:spPr>
      </p:pic>
      <p:pic>
        <p:nvPicPr>
          <p:cNvPr id="37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429448" y="3396425"/>
            <a:ext cx="277616" cy="252000"/>
          </a:xfrm>
          <a:prstGeom prst="rect">
            <a:avLst/>
          </a:prstGeom>
        </p:spPr>
      </p:pic>
      <p:pic>
        <p:nvPicPr>
          <p:cNvPr id="38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419525" y="4086361"/>
            <a:ext cx="277616" cy="252000"/>
          </a:xfrm>
          <a:prstGeom prst="rect">
            <a:avLst/>
          </a:prstGeom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1122948" y="902232"/>
            <a:ext cx="5760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1122948" y="1406288"/>
            <a:ext cx="5760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53634" y="4936335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6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9015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37894" y="4975103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7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18" name="Rounded Rectangle 2"/>
          <p:cNvSpPr/>
          <p:nvPr/>
        </p:nvSpPr>
        <p:spPr>
          <a:xfrm>
            <a:off x="702380" y="4043865"/>
            <a:ext cx="7597230" cy="975028"/>
          </a:xfrm>
          <a:prstGeom prst="roundRect">
            <a:avLst>
              <a:gd name="adj" fmla="val 3968"/>
            </a:avLst>
          </a:prstGeom>
          <a:noFill/>
          <a:ln w="6350">
            <a:solidFill>
              <a:schemeClr val="accent2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619261" y="3939723"/>
            <a:ext cx="333525" cy="358915"/>
            <a:chOff x="-793414" y="835630"/>
            <a:chExt cx="240347" cy="294024"/>
          </a:xfrm>
        </p:grpSpPr>
        <p:sp>
          <p:nvSpPr>
            <p:cNvPr id="27" name="Rounded Rectangle 2"/>
            <p:cNvSpPr/>
            <p:nvPr/>
          </p:nvSpPr>
          <p:spPr>
            <a:xfrm>
              <a:off x="-793414" y="835630"/>
              <a:ext cx="240347" cy="294024"/>
            </a:xfrm>
            <a:prstGeom prst="roundRect">
              <a:avLst>
                <a:gd name="adj" fmla="val 3968"/>
              </a:avLst>
            </a:prstGeom>
            <a:solidFill>
              <a:schemeClr val="bg1"/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object 2"/>
            <p:cNvSpPr/>
            <p:nvPr/>
          </p:nvSpPr>
          <p:spPr>
            <a:xfrm>
              <a:off x="-717786" y="944174"/>
              <a:ext cx="89091" cy="91175"/>
            </a:xfrm>
            <a:custGeom>
              <a:avLst/>
              <a:gdLst/>
              <a:ahLst/>
              <a:cxnLst/>
              <a:rect l="l" t="t" r="r" b="b"/>
              <a:pathLst>
                <a:path w="758825" h="776604">
                  <a:moveTo>
                    <a:pt x="379349" y="0"/>
                  </a:moveTo>
                  <a:lnTo>
                    <a:pt x="331756" y="3023"/>
                  </a:lnTo>
                  <a:lnTo>
                    <a:pt x="285929" y="11851"/>
                  </a:lnTo>
                  <a:lnTo>
                    <a:pt x="242224" y="26119"/>
                  </a:lnTo>
                  <a:lnTo>
                    <a:pt x="200996" y="45464"/>
                  </a:lnTo>
                  <a:lnTo>
                    <a:pt x="162600" y="69521"/>
                  </a:lnTo>
                  <a:lnTo>
                    <a:pt x="127391" y="97928"/>
                  </a:lnTo>
                  <a:lnTo>
                    <a:pt x="95724" y="130320"/>
                  </a:lnTo>
                  <a:lnTo>
                    <a:pt x="67955" y="166333"/>
                  </a:lnTo>
                  <a:lnTo>
                    <a:pt x="44438" y="205604"/>
                  </a:lnTo>
                  <a:lnTo>
                    <a:pt x="25529" y="247768"/>
                  </a:lnTo>
                  <a:lnTo>
                    <a:pt x="11583" y="292462"/>
                  </a:lnTo>
                  <a:lnTo>
                    <a:pt x="2954" y="339322"/>
                  </a:lnTo>
                  <a:lnTo>
                    <a:pt x="0" y="387984"/>
                  </a:lnTo>
                  <a:lnTo>
                    <a:pt x="2954" y="436674"/>
                  </a:lnTo>
                  <a:lnTo>
                    <a:pt x="11583" y="483557"/>
                  </a:lnTo>
                  <a:lnTo>
                    <a:pt x="25529" y="528270"/>
                  </a:lnTo>
                  <a:lnTo>
                    <a:pt x="44438" y="570450"/>
                  </a:lnTo>
                  <a:lnTo>
                    <a:pt x="67955" y="609733"/>
                  </a:lnTo>
                  <a:lnTo>
                    <a:pt x="95724" y="645756"/>
                  </a:lnTo>
                  <a:lnTo>
                    <a:pt x="127391" y="678155"/>
                  </a:lnTo>
                  <a:lnTo>
                    <a:pt x="162600" y="706567"/>
                  </a:lnTo>
                  <a:lnTo>
                    <a:pt x="200996" y="730629"/>
                  </a:lnTo>
                  <a:lnTo>
                    <a:pt x="242224" y="749976"/>
                  </a:lnTo>
                  <a:lnTo>
                    <a:pt x="285929" y="764245"/>
                  </a:lnTo>
                  <a:lnTo>
                    <a:pt x="331756" y="773073"/>
                  </a:lnTo>
                  <a:lnTo>
                    <a:pt x="379349" y="776096"/>
                  </a:lnTo>
                  <a:lnTo>
                    <a:pt x="426941" y="773073"/>
                  </a:lnTo>
                  <a:lnTo>
                    <a:pt x="472768" y="764245"/>
                  </a:lnTo>
                  <a:lnTo>
                    <a:pt x="516473" y="749976"/>
                  </a:lnTo>
                  <a:lnTo>
                    <a:pt x="557701" y="730629"/>
                  </a:lnTo>
                  <a:lnTo>
                    <a:pt x="596097" y="706567"/>
                  </a:lnTo>
                  <a:lnTo>
                    <a:pt x="631306" y="678155"/>
                  </a:lnTo>
                  <a:lnTo>
                    <a:pt x="662973" y="645756"/>
                  </a:lnTo>
                  <a:lnTo>
                    <a:pt x="690742" y="609733"/>
                  </a:lnTo>
                  <a:lnTo>
                    <a:pt x="714259" y="570450"/>
                  </a:lnTo>
                  <a:lnTo>
                    <a:pt x="733168" y="528270"/>
                  </a:lnTo>
                  <a:lnTo>
                    <a:pt x="747114" y="483557"/>
                  </a:lnTo>
                  <a:lnTo>
                    <a:pt x="755743" y="436674"/>
                  </a:lnTo>
                  <a:lnTo>
                    <a:pt x="758698" y="387984"/>
                  </a:lnTo>
                  <a:lnTo>
                    <a:pt x="755743" y="339322"/>
                  </a:lnTo>
                  <a:lnTo>
                    <a:pt x="747114" y="292462"/>
                  </a:lnTo>
                  <a:lnTo>
                    <a:pt x="733168" y="247768"/>
                  </a:lnTo>
                  <a:lnTo>
                    <a:pt x="714259" y="205604"/>
                  </a:lnTo>
                  <a:lnTo>
                    <a:pt x="690742" y="166333"/>
                  </a:lnTo>
                  <a:lnTo>
                    <a:pt x="662973" y="130320"/>
                  </a:lnTo>
                  <a:lnTo>
                    <a:pt x="631306" y="97928"/>
                  </a:lnTo>
                  <a:lnTo>
                    <a:pt x="596097" y="69521"/>
                  </a:lnTo>
                  <a:lnTo>
                    <a:pt x="557701" y="45464"/>
                  </a:lnTo>
                  <a:lnTo>
                    <a:pt x="516473" y="26119"/>
                  </a:lnTo>
                  <a:lnTo>
                    <a:pt x="472768" y="11851"/>
                  </a:lnTo>
                  <a:lnTo>
                    <a:pt x="426941" y="3023"/>
                  </a:lnTo>
                  <a:lnTo>
                    <a:pt x="379349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</a:ln>
            <a:effectLst>
              <a:outerShdw blurRad="203200" dir="240000" sx="110000" sy="110000" algn="ctr" rotWithShape="0">
                <a:srgbClr val="0070C0">
                  <a:alpha val="49000"/>
                </a:srgbClr>
              </a:outerShdw>
            </a:effectLst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930958" y="4127871"/>
            <a:ext cx="726370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dirty="0" err="1">
                <a:latin typeface="Arial" panose="020B0604020202020204" pitchFamily="34" charset="0"/>
              </a:rPr>
              <a:t>Жергілікті</a:t>
            </a:r>
            <a:r>
              <a:rPr lang="ru-RU" sz="1100" dirty="0">
                <a:latin typeface="Arial" panose="020B0604020202020204" pitchFamily="34" charset="0"/>
              </a:rPr>
              <a:t> агломерация </a:t>
            </a:r>
            <a:r>
              <a:rPr lang="ru-RU" sz="1100" dirty="0" err="1">
                <a:latin typeface="Arial" panose="020B0604020202020204" pitchFamily="34" charset="0"/>
              </a:rPr>
              <a:t>кеңесінің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 smtClean="0">
                <a:latin typeface="Arial" panose="020B0604020202020204" pitchFamily="34" charset="0"/>
              </a:rPr>
              <a:t>құрамына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 smtClean="0">
                <a:latin typeface="Arial" panose="020B0604020202020204" pitchFamily="34" charset="0"/>
              </a:rPr>
              <a:t>астананың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немесе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р</a:t>
            </a:r>
            <a:r>
              <a:rPr lang="ru-RU" sz="1100" dirty="0" err="1" smtClean="0">
                <a:latin typeface="Arial" panose="020B0604020202020204" pitchFamily="34" charset="0"/>
              </a:rPr>
              <a:t>еспубликалық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маңызы</a:t>
            </a:r>
            <a:r>
              <a:rPr lang="ru-RU" sz="1100" dirty="0">
                <a:latin typeface="Arial" panose="020B0604020202020204" pitchFamily="34" charset="0"/>
              </a:rPr>
              <a:t> бар </a:t>
            </a:r>
            <a:r>
              <a:rPr lang="ru-RU" sz="1100" dirty="0" err="1">
                <a:latin typeface="Arial" panose="020B0604020202020204" pitchFamily="34" charset="0"/>
              </a:rPr>
              <a:t>қаланың</a:t>
            </a:r>
            <a:r>
              <a:rPr lang="ru-RU" sz="1100" dirty="0">
                <a:latin typeface="Arial" panose="020B0604020202020204" pitchFamily="34" charset="0"/>
              </a:rPr>
              <a:t>, </a:t>
            </a:r>
            <a:r>
              <a:rPr lang="ru-RU" sz="1100" dirty="0" smtClean="0">
                <a:latin typeface="Arial" panose="020B0604020202020204" pitchFamily="34" charset="0"/>
              </a:rPr>
              <a:t/>
            </a:r>
            <a:br>
              <a:rPr lang="ru-RU" sz="1100" dirty="0" smtClean="0">
                <a:latin typeface="Arial" panose="020B0604020202020204" pitchFamily="34" charset="0"/>
              </a:rPr>
            </a:br>
            <a:r>
              <a:rPr lang="ru-RU" sz="1100" dirty="0" err="1" smtClean="0">
                <a:latin typeface="Arial" panose="020B0604020202020204" pitchFamily="34" charset="0"/>
              </a:rPr>
              <a:t>елді-мекендері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агломерацияға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кіретін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облыстың</a:t>
            </a:r>
            <a:r>
              <a:rPr lang="ru-RU" sz="1100" dirty="0">
                <a:latin typeface="Arial" panose="020B0604020202020204" pitchFamily="34" charset="0"/>
              </a:rPr>
              <a:t>, </a:t>
            </a:r>
            <a:r>
              <a:rPr lang="ru-RU" sz="1100" dirty="0" err="1">
                <a:latin typeface="Arial" panose="020B0604020202020204" pitchFamily="34" charset="0"/>
              </a:rPr>
              <a:t>халқы</a:t>
            </a:r>
            <a:r>
              <a:rPr lang="ru-RU" sz="1100" dirty="0">
                <a:latin typeface="Arial" panose="020B0604020202020204" pitchFamily="34" charset="0"/>
              </a:rPr>
              <a:t> бес </a:t>
            </a:r>
            <a:r>
              <a:rPr lang="ru-RU" sz="1100" dirty="0" err="1">
                <a:latin typeface="Arial" panose="020B0604020202020204" pitchFamily="34" charset="0"/>
              </a:rPr>
              <a:t>жүз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мың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адамнан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асатын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облыстық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маңызы</a:t>
            </a:r>
            <a:r>
              <a:rPr lang="ru-RU" sz="1100" dirty="0">
                <a:latin typeface="Arial" panose="020B0604020202020204" pitchFamily="34" charset="0"/>
              </a:rPr>
              <a:t> бар </a:t>
            </a:r>
            <a:r>
              <a:rPr lang="ru-RU" sz="1100" dirty="0" err="1">
                <a:latin typeface="Arial" panose="020B0604020202020204" pitchFamily="34" charset="0"/>
              </a:rPr>
              <a:t>қаланың</a:t>
            </a:r>
            <a:r>
              <a:rPr lang="ru-RU" sz="1100" dirty="0">
                <a:latin typeface="Arial" panose="020B0604020202020204" pitchFamily="34" charset="0"/>
              </a:rPr>
              <a:t> (агломерация </a:t>
            </a:r>
            <a:r>
              <a:rPr lang="ru-RU" sz="1100" dirty="0" err="1">
                <a:latin typeface="Arial" panose="020B0604020202020204" pitchFamily="34" charset="0"/>
              </a:rPr>
              <a:t>орталығының</a:t>
            </a:r>
            <a:r>
              <a:rPr lang="ru-RU" sz="1100" dirty="0">
                <a:latin typeface="Arial" panose="020B0604020202020204" pitchFamily="34" charset="0"/>
              </a:rPr>
              <a:t>), </a:t>
            </a:r>
            <a:r>
              <a:rPr lang="ru-RU" sz="1100" dirty="0" err="1">
                <a:latin typeface="Arial" panose="020B0604020202020204" pitchFamily="34" charset="0"/>
              </a:rPr>
              <a:t>елді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мекендері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агломерацияға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кіретін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аудандардың</a:t>
            </a:r>
            <a:r>
              <a:rPr lang="ru-RU" sz="1100" dirty="0">
                <a:latin typeface="Arial" panose="020B0604020202020204" pitchFamily="34" charset="0"/>
              </a:rPr>
              <a:t> ЖАО мен </a:t>
            </a:r>
            <a:r>
              <a:rPr lang="ru-RU" sz="1100" dirty="0" err="1">
                <a:latin typeface="Arial" panose="020B0604020202020204" pitchFamily="34" charset="0"/>
              </a:rPr>
              <a:t>мәслихаттары</a:t>
            </a:r>
            <a:r>
              <a:rPr lang="ru-RU" sz="1100" dirty="0">
                <a:latin typeface="Arial" panose="020B0604020202020204" pitchFamily="34" charset="0"/>
              </a:rPr>
              <a:t>, </a:t>
            </a:r>
            <a:r>
              <a:rPr lang="ru-RU" sz="1100" dirty="0" smtClean="0">
                <a:latin typeface="Arial" panose="020B0604020202020204" pitchFamily="34" charset="0"/>
              </a:rPr>
              <a:t>«</a:t>
            </a:r>
            <a:r>
              <a:rPr lang="ru-RU" sz="1100" dirty="0" err="1" smtClean="0">
                <a:latin typeface="Arial" panose="020B0604020202020204" pitchFamily="34" charset="0"/>
              </a:rPr>
              <a:t>Атамекен</a:t>
            </a:r>
            <a:r>
              <a:rPr lang="ru-RU" sz="1100" dirty="0" smtClean="0">
                <a:latin typeface="Arial" panose="020B0604020202020204" pitchFamily="34" charset="0"/>
              </a:rPr>
              <a:t>» </a:t>
            </a:r>
            <a:r>
              <a:rPr lang="ru-RU" sz="1100" dirty="0">
                <a:latin typeface="Arial" panose="020B0604020202020204" pitchFamily="34" charset="0"/>
              </a:rPr>
              <a:t>ҰКП </a:t>
            </a:r>
            <a:r>
              <a:rPr lang="ru-RU" sz="1100" dirty="0" err="1">
                <a:latin typeface="Arial" panose="020B0604020202020204" pitchFamily="34" charset="0"/>
              </a:rPr>
              <a:t>және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үкіметтік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емес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ұйымдардың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өкілдері</a:t>
            </a:r>
            <a:r>
              <a:rPr lang="ru-RU" sz="1100" dirty="0">
                <a:latin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</a:rPr>
              <a:t>кіреді</a:t>
            </a:r>
            <a:endParaRPr lang="ru-RU" sz="1100" dirty="0">
              <a:latin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741370" y="15240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03915" y="246033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Жергілікті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деңгейдегі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басқару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органдары</a:t>
            </a: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sp>
        <p:nvSpPr>
          <p:cNvPr id="34" name="Прямоугольник 15"/>
          <p:cNvSpPr/>
          <p:nvPr/>
        </p:nvSpPr>
        <p:spPr>
          <a:xfrm>
            <a:off x="503915" y="1538453"/>
            <a:ext cx="8871998" cy="2541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00"/>
              </a:spcAft>
            </a:pPr>
            <a:r>
              <a:rPr lang="ru-RU" sz="1400" dirty="0" err="1">
                <a:latin typeface="Arial" panose="020B0604020202020204"/>
                <a:cs typeface="Arial Narrow" panose="020B0606020202030204"/>
              </a:rPr>
              <a:t>Агломерацияларды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дамытуды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қолдаудың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мақсаттарын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міндеттері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мен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шараларын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айқындау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жөнінде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ұсыныстар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әзірлейді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spcAft>
                <a:spcPts val="500"/>
              </a:spcAft>
            </a:pPr>
            <a:r>
              <a:rPr lang="ru-RU" sz="1400" dirty="0" err="1">
                <a:latin typeface="Arial" panose="020B0604020202020204"/>
                <a:cs typeface="Arial Narrow" panose="020B0606020202030204"/>
              </a:rPr>
              <a:t>Агломерацияны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дамытудың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кешенді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жоспарын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әзірлейтін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хатшылықты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йқындайды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spcAft>
                <a:spcPts val="500"/>
              </a:spcAft>
            </a:pPr>
            <a:endParaRPr lang="ru-RU" sz="4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dirty="0" err="1">
                <a:latin typeface="Arial" panose="020B0604020202020204"/>
                <a:cs typeface="Arial Narrow" panose="020B0606020202030204"/>
              </a:rPr>
              <a:t>Жергілікті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кеңестің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отырыстарында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шешімдер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бірауызда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былданады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spcAft>
                <a:spcPts val="500"/>
              </a:spcAft>
            </a:pPr>
            <a:endParaRPr lang="ru-RU" sz="4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dirty="0" err="1">
                <a:latin typeface="Arial" panose="020B0604020202020204"/>
                <a:cs typeface="Arial Narrow" panose="020B0606020202030204"/>
              </a:rPr>
              <a:t>Жергілікті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кеңестің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төрағасы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оның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құрамынан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сайланады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spcAft>
                <a:spcPts val="500"/>
              </a:spcAft>
            </a:pPr>
            <a:endParaRPr lang="ru-RU" sz="6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dirty="0" err="1">
                <a:latin typeface="Arial" panose="020B0604020202020204"/>
                <a:cs typeface="Arial Narrow" panose="020B0606020202030204"/>
              </a:rPr>
              <a:t>Жергілікті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кеңестің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құрамына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мүшелердің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саны,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қалыптастыру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тәртібі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кандидатураларды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іріктеу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агломерация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аумағындағы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жергілікті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мәселелерді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бірлесіп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шешу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туралы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елісімд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йқындалады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35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1338959" y="1013587"/>
            <a:ext cx="5261949" cy="50209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ергілікті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агломерация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еңесі</a:t>
            </a:r>
            <a:endParaRPr lang="ru-RU" altLang="ru-RU" sz="16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grpSp>
        <p:nvGrpSpPr>
          <p:cNvPr id="36" name="Группа 35"/>
          <p:cNvGrpSpPr/>
          <p:nvPr/>
        </p:nvGrpSpPr>
        <p:grpSpPr>
          <a:xfrm>
            <a:off x="840612" y="1078990"/>
            <a:ext cx="360724" cy="360000"/>
            <a:chOff x="4930800" y="1027691"/>
            <a:chExt cx="360000" cy="360000"/>
          </a:xfrm>
        </p:grpSpPr>
        <p:sp>
          <p:nvSpPr>
            <p:cNvPr id="37" name="Овал 4">
              <a:extLst>
                <a:ext uri="{FF2B5EF4-FFF2-40B4-BE49-F238E27FC236}">
                  <a16:creationId xmlns:a16="http://schemas.microsoft.com/office/drawing/2014/main" xmlns="" id="{FF318A34-2E73-4967-8110-A1F4B38D0172}"/>
                </a:ext>
              </a:extLst>
            </p:cNvPr>
            <p:cNvSpPr/>
            <p:nvPr/>
          </p:nvSpPr>
          <p:spPr>
            <a:xfrm>
              <a:off x="4930800" y="1027691"/>
              <a:ext cx="360000" cy="360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8" name="Picture 12" descr="C:\Users\A.Meirembayev\Downloads\team-leader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87277" y="1067534"/>
              <a:ext cx="252000" cy="2551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9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17711" y="1605614"/>
            <a:ext cx="277616" cy="252000"/>
          </a:xfrm>
          <a:prstGeom prst="rect">
            <a:avLst/>
          </a:prstGeom>
        </p:spPr>
      </p:pic>
      <p:pic>
        <p:nvPicPr>
          <p:cNvPr id="4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26299" y="2102952"/>
            <a:ext cx="277616" cy="252000"/>
          </a:xfrm>
          <a:prstGeom prst="rect">
            <a:avLst/>
          </a:prstGeom>
        </p:spPr>
      </p:pic>
      <p:pic>
        <p:nvPicPr>
          <p:cNvPr id="4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26299" y="2511369"/>
            <a:ext cx="277616" cy="252000"/>
          </a:xfrm>
          <a:prstGeom prst="rect">
            <a:avLst/>
          </a:prstGeom>
        </p:spPr>
      </p:pic>
      <p:pic>
        <p:nvPicPr>
          <p:cNvPr id="42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17711" y="2919451"/>
            <a:ext cx="277616" cy="252000"/>
          </a:xfrm>
          <a:prstGeom prst="rect">
            <a:avLst/>
          </a:prstGeom>
        </p:spPr>
      </p:pic>
      <p:pic>
        <p:nvPicPr>
          <p:cNvPr id="43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17711" y="3327533"/>
            <a:ext cx="277616" cy="252000"/>
          </a:xfrm>
          <a:prstGeom prst="rect">
            <a:avLst/>
          </a:prstGeom>
        </p:spPr>
      </p:pic>
      <p:cxnSp>
        <p:nvCxnSpPr>
          <p:cNvPr id="44" name="Прямая соединительная линия 43"/>
          <p:cNvCxnSpPr/>
          <p:nvPr/>
        </p:nvCxnSpPr>
        <p:spPr>
          <a:xfrm flipV="1">
            <a:off x="1338959" y="1013587"/>
            <a:ext cx="3989741" cy="372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V="1">
            <a:off x="1338959" y="1515686"/>
            <a:ext cx="3989741" cy="5678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3205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1515" y="93633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Агломерацияны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дамытудың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кешенді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жоспары</a:t>
            </a: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sp>
        <p:nvSpPr>
          <p:cNvPr id="28" name="Прямоугольник 15"/>
          <p:cNvSpPr/>
          <p:nvPr/>
        </p:nvSpPr>
        <p:spPr>
          <a:xfrm>
            <a:off x="351515" y="1253174"/>
            <a:ext cx="8697069" cy="29443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00"/>
              </a:spcAft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Агломерация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рамын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ірет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л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кендерді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әлеуметтік-экономик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дамуыны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ғымдағ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ай-күйі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бағалау</a:t>
            </a:r>
            <a:endParaRPr lang="ru-RU" sz="100" dirty="0" smtClean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еңістіктік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оспарла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гломерациян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оммуналд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өліктік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әлеуметтік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инфрақұрылымы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дамыт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әселелері</a:t>
            </a:r>
            <a:endParaRPr lang="ru-RU" sz="1350" b="1" dirty="0" smtClean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endParaRPr lang="ru-RU" sz="100" dirty="0" smtClean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гломерациян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дамытуды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ақсаттар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мен </a:t>
            </a:r>
            <a:r>
              <a:rPr lang="ru-RU" sz="1350" b="1" dirty="0" err="1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індеттері</a:t>
            </a:r>
            <a:endParaRPr lang="ru-RU" sz="1350" b="1" dirty="0" smtClean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endParaRPr lang="kk-KZ" sz="100" dirty="0" smtClean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endParaRPr lang="ru-RU" sz="100" dirty="0" smtClean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dirty="0" err="1">
                <a:latin typeface="Arial" panose="020B0604020202020204"/>
                <a:cs typeface="Arial Narrow" panose="020B0606020202030204"/>
              </a:rPr>
              <a:t>Агломерацияны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дамытудың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мақсаттары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мен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міндеттерін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сипаттайтын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негізг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өрсеткіштер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(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индикаторлар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)</a:t>
            </a:r>
            <a:endParaRPr lang="ru-RU" sz="100" b="1" u="sng" dirty="0" smtClean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аржыландыру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өздер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мен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өлемі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іс-шаралард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іск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сыр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рзімдер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ауапт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рындаушылард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өрсет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тырып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гломерациян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дамыт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індеттер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ойынш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топтастырылған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/>
            </a:r>
            <a:b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</a:br>
            <a:r>
              <a:rPr lang="ru-RU" sz="1350" b="1" dirty="0" err="1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іс-шаралар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ешені</a:t>
            </a:r>
            <a:endParaRPr lang="ru-RU" sz="100" dirty="0" smtClean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гломерациян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дамытуды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ешенд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оспарыны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әлеуметтік-экономикалық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тиімділігі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бағалау</a:t>
            </a:r>
            <a:endParaRPr lang="ru-RU" sz="1350" dirty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1122948" y="699731"/>
            <a:ext cx="5261949" cy="50209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ешенді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оспардың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ұрамы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33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624601" y="765134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1301899"/>
            <a:ext cx="277616" cy="252000"/>
          </a:xfrm>
          <a:prstGeom prst="rect">
            <a:avLst/>
          </a:prstGeom>
        </p:spPr>
      </p:pic>
      <p:pic>
        <p:nvPicPr>
          <p:cNvPr id="37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1837465"/>
            <a:ext cx="277616" cy="252000"/>
          </a:xfrm>
          <a:prstGeom prst="rect">
            <a:avLst/>
          </a:prstGeom>
        </p:spPr>
      </p:pic>
      <p:pic>
        <p:nvPicPr>
          <p:cNvPr id="38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737761"/>
            <a:ext cx="277616" cy="252000"/>
          </a:xfrm>
          <a:prstGeom prst="rect">
            <a:avLst/>
          </a:prstGeom>
        </p:spPr>
      </p:pic>
      <p:pic>
        <p:nvPicPr>
          <p:cNvPr id="39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6362" y="3250193"/>
            <a:ext cx="277616" cy="252000"/>
          </a:xfrm>
          <a:prstGeom prst="rect">
            <a:avLst/>
          </a:prstGeom>
        </p:spPr>
      </p:pic>
      <p:pic>
        <p:nvPicPr>
          <p:cNvPr id="4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3899" y="3909174"/>
            <a:ext cx="277616" cy="252000"/>
          </a:xfrm>
          <a:prstGeom prst="rect">
            <a:avLst/>
          </a:prstGeom>
        </p:spPr>
      </p:pic>
      <p:cxnSp>
        <p:nvCxnSpPr>
          <p:cNvPr id="41" name="Прямая соединительная линия 40"/>
          <p:cNvCxnSpPr/>
          <p:nvPr/>
        </p:nvCxnSpPr>
        <p:spPr>
          <a:xfrm flipV="1">
            <a:off x="1122948" y="699731"/>
            <a:ext cx="3989741" cy="372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1122948" y="1201830"/>
            <a:ext cx="3989741" cy="5678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37894" y="4972487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8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49537" y="4315673"/>
            <a:ext cx="84189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err="1">
                <a:latin typeface="Arial" panose="020B0604020202020204" pitchFamily="34" charset="0"/>
              </a:rPr>
              <a:t>Агломерацияны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дамытудың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кешенді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жоспарын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ергілікт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агломерация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еңесіні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хатшылығ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>
                <a:latin typeface="Arial" panose="020B0604020202020204" pitchFamily="34" charset="0"/>
              </a:rPr>
              <a:t>бес </a:t>
            </a:r>
            <a:r>
              <a:rPr lang="ru-RU" sz="1400" dirty="0" err="1">
                <a:latin typeface="Arial" panose="020B0604020202020204" pitchFamily="34" charset="0"/>
              </a:rPr>
              <a:t>жылдық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кезеңге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әзірлейді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</a:rPr>
              <a:t>және</a:t>
            </a:r>
            <a:r>
              <a:rPr lang="ru-RU" sz="1400" dirty="0">
                <a:latin typeface="Arial" panose="020B0604020202020204" pitchFamily="34" charset="0"/>
              </a:rPr>
              <a:t>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Р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резидент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Әкімшілігіні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елісім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бойынша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ҚР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Үкімет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бекітеді</a:t>
            </a:r>
            <a:endParaRPr lang="ru-RU" sz="1350" b="1" dirty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flipH="1">
            <a:off x="298010" y="4186846"/>
            <a:ext cx="8521998" cy="422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372643"/>
            <a:ext cx="277616" cy="252000"/>
          </a:xfrm>
          <a:prstGeom prst="rect">
            <a:avLst/>
          </a:prstGeom>
        </p:spPr>
      </p:pic>
      <p:sp>
        <p:nvSpPr>
          <p:cNvPr id="47" name="Shape 2530"/>
          <p:cNvSpPr/>
          <p:nvPr/>
        </p:nvSpPr>
        <p:spPr>
          <a:xfrm>
            <a:off x="728291" y="843080"/>
            <a:ext cx="171450" cy="2095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684105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83487" y="694739"/>
            <a:ext cx="8215426" cy="554294"/>
          </a:xfrm>
          <a:prstGeom prst="roundRect">
            <a:avLst/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 w="19050" cap="flat" cmpd="sng" algn="ctr">
            <a:solidFill>
              <a:srgbClr val="1D4999"/>
            </a:solidFill>
            <a:prstDash val="sysDash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49537" y="66577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Негізгі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заң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жобасы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шеңберінде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ЖАО </a:t>
            </a:r>
            <a:r>
              <a:rPr lang="ru-RU" altLang="ru-RU" b="1" cap="small" dirty="0" err="1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берілетін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 </a:t>
            </a:r>
            <a:r>
              <a:rPr lang="ru-RU" alt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құзыреттер</a:t>
            </a:r>
            <a:endParaRPr lang="ru-RU" alt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sp>
        <p:nvSpPr>
          <p:cNvPr id="33" name="Прямоугольник 15"/>
          <p:cNvSpPr/>
          <p:nvPr/>
        </p:nvSpPr>
        <p:spPr>
          <a:xfrm>
            <a:off x="432645" y="2063917"/>
            <a:ext cx="8697069" cy="3062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Агломерация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ұрамын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ірет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л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кендерді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ергілік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әселелер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бірлесіп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шешуг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тысады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800" dirty="0">
              <a:latin typeface="Arial" panose="020B0604020202020204"/>
              <a:cs typeface="Arial Narrow" panose="020B0606020202030204"/>
            </a:endParaRPr>
          </a:p>
          <a:p>
            <a:pPr algn="just" defTabSz="515653">
              <a:defRPr/>
            </a:pPr>
            <a:r>
              <a:rPr lang="ru-RU" sz="1350" dirty="0" err="1">
                <a:latin typeface="Arial" panose="020B0604020202020204"/>
                <a:cs typeface="Arial Narrow" panose="020B0606020202030204"/>
              </a:rPr>
              <a:t>Орталық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мен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қал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йм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расындағ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агломерация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умағынд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ергілікт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аңыз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бар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әселелер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бірлесіп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шеш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турал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елісім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дайындауғ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жән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ол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оюғ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тысады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just" defTabSz="515653">
              <a:defRPr/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 algn="just" defTabSz="515653">
              <a:defRPr/>
            </a:pP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гломерацияны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ергілікт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еңесі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ұруғ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ән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оны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ызметін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тысады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just" defTabSz="515653">
              <a:defRPr/>
            </a:pP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just" defTabSz="515653">
              <a:defRPr/>
            </a:pPr>
            <a:r>
              <a:rPr lang="ru-RU" sz="1350" dirty="0" err="1">
                <a:latin typeface="Arial" panose="020B0604020202020204"/>
                <a:cs typeface="Arial Narrow" panose="020B0606020202030204"/>
              </a:rPr>
              <a:t>Елд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мекендері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гломерацияғ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кіретін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удандардың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ЖАО-на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гломерациян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дамыт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мәселелері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шешуд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әрдем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өрсетеді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algn="just" defTabSz="515653">
              <a:defRPr/>
            </a:pPr>
            <a:endParaRPr lang="ru-RU" sz="900" dirty="0">
              <a:latin typeface="Arial" panose="020B0604020202020204"/>
              <a:cs typeface="Arial Narrow" panose="020B0606020202030204"/>
            </a:endParaRPr>
          </a:p>
          <a:p>
            <a:pPr algn="just" defTabSz="515653">
              <a:defRPr/>
            </a:pP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Әлемні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басқа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гломерациялар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расында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гломерацияны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бәсекелестік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үмкіндіктері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рттыру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өнінде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шаралар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абылдауда</a:t>
            </a:r>
            <a:endParaRPr lang="ru-RU" sz="1350" b="1" dirty="0" smtClean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  <a:p>
            <a:pPr algn="just" defTabSz="515653">
              <a:defRPr/>
            </a:pPr>
            <a:endParaRPr lang="ru-RU" sz="1050" dirty="0">
              <a:latin typeface="Arial" panose="020B0604020202020204"/>
              <a:cs typeface="Arial Narrow" panose="020B0606020202030204"/>
            </a:endParaRPr>
          </a:p>
          <a:p>
            <a:pPr algn="just" defTabSz="515653">
              <a:defRPr/>
            </a:pP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гломерациян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дамытудың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ешенді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оспарына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енгізу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үшін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ұсыныстар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жолдайды</a:t>
            </a:r>
            <a:endParaRPr lang="ru-RU" sz="1350" dirty="0" smtClean="0">
              <a:latin typeface="Arial" panose="020B0604020202020204"/>
              <a:cs typeface="Arial Narrow" panose="020B0606020202030204"/>
            </a:endParaRPr>
          </a:p>
        </p:txBody>
      </p:sp>
      <p:sp>
        <p:nvSpPr>
          <p:cNvPr id="34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446931" y="1360866"/>
            <a:ext cx="8887743" cy="703051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Елді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мекендері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агломерацияға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кіретін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стананың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,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республикалық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маңызы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бар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ланың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әне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облыстың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ЖАО 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өз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құзіреті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шегінде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:</a:t>
            </a:r>
            <a:endParaRPr lang="ru-RU" altLang="ru-RU" sz="14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35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71921" y="1530693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081923"/>
            <a:ext cx="277616" cy="252000"/>
          </a:xfrm>
          <a:prstGeom prst="rect">
            <a:avLst/>
          </a:prstGeom>
        </p:spPr>
      </p:pic>
      <p:pic>
        <p:nvPicPr>
          <p:cNvPr id="37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632854"/>
            <a:ext cx="277616" cy="252000"/>
          </a:xfrm>
          <a:prstGeom prst="rect">
            <a:avLst/>
          </a:prstGeom>
        </p:spPr>
      </p:pic>
      <p:pic>
        <p:nvPicPr>
          <p:cNvPr id="38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3718651"/>
            <a:ext cx="277616" cy="252000"/>
          </a:xfrm>
          <a:prstGeom prst="rect">
            <a:avLst/>
          </a:prstGeom>
        </p:spPr>
      </p:pic>
      <p:pic>
        <p:nvPicPr>
          <p:cNvPr id="39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4249530"/>
            <a:ext cx="277616" cy="252000"/>
          </a:xfrm>
          <a:prstGeom prst="rect">
            <a:avLst/>
          </a:prstGeom>
        </p:spPr>
      </p:pic>
      <p:pic>
        <p:nvPicPr>
          <p:cNvPr id="4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4813140"/>
            <a:ext cx="277616" cy="252000"/>
          </a:xfrm>
          <a:prstGeom prst="rect">
            <a:avLst/>
          </a:prstGeom>
        </p:spPr>
      </p:pic>
      <p:cxnSp>
        <p:nvCxnSpPr>
          <p:cNvPr id="41" name="Прямая соединительная линия 40"/>
          <p:cNvCxnSpPr/>
          <p:nvPr/>
        </p:nvCxnSpPr>
        <p:spPr>
          <a:xfrm flipV="1">
            <a:off x="518494" y="1337012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518494" y="2002818"/>
            <a:ext cx="4474320" cy="850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23608" y="4940046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9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pic>
        <p:nvPicPr>
          <p:cNvPr id="44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3287843"/>
            <a:ext cx="277616" cy="252000"/>
          </a:xfrm>
          <a:prstGeom prst="rect">
            <a:avLst/>
          </a:prstGeom>
        </p:spPr>
      </p:pic>
      <p:sp>
        <p:nvSpPr>
          <p:cNvPr id="45" name="Shape 2617"/>
          <p:cNvSpPr/>
          <p:nvPr/>
        </p:nvSpPr>
        <p:spPr>
          <a:xfrm>
            <a:off x="139987" y="1626898"/>
            <a:ext cx="209550" cy="1761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46" name="Прямоугольник 15"/>
          <p:cNvSpPr/>
          <p:nvPr/>
        </p:nvSpPr>
        <p:spPr>
          <a:xfrm>
            <a:off x="483487" y="651584"/>
            <a:ext cx="869706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400" dirty="0" err="1" smtClean="0">
                <a:latin typeface="Arial" panose="020B0604020202020204"/>
                <a:cs typeface="Arial Narrow" panose="020B0606020202030204"/>
              </a:rPr>
              <a:t>Заң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жобалары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шеңберінде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өңірлердің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әкімдіктеріне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600" b="1" dirty="0">
                <a:solidFill>
                  <a:srgbClr val="00B050"/>
                </a:solidFill>
                <a:latin typeface="Arial" panose="020B0604020202020204"/>
                <a:cs typeface="Arial Narrow" panose="020B0606020202030204"/>
              </a:rPr>
              <a:t>25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қосымш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өкілеттік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беріледі</a:t>
            </a:r>
            <a:endParaRPr lang="ru-RU" sz="1400" b="1" dirty="0" smtClean="0">
              <a:solidFill>
                <a:srgbClr val="002060"/>
              </a:solidFill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50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100" i="1" dirty="0" smtClean="0">
                <a:latin typeface="Arial" panose="020B0604020202020204"/>
                <a:cs typeface="Arial Narrow" panose="020B0606020202030204"/>
              </a:rPr>
              <a:t>(</a:t>
            </a:r>
            <a:r>
              <a:rPr lang="ru-RU" sz="1200" i="1" dirty="0" err="1">
                <a:latin typeface="Arial" panose="020B0604020202020204"/>
                <a:cs typeface="Arial Narrow" panose="020B0606020202030204"/>
              </a:rPr>
              <a:t>Негізгі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i="1" dirty="0" err="1">
                <a:latin typeface="Arial" panose="020B0604020202020204"/>
                <a:cs typeface="Arial Narrow" panose="020B0606020202030204"/>
              </a:rPr>
              <a:t>заң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i="1" dirty="0" err="1">
                <a:latin typeface="Arial" panose="020B0604020202020204"/>
                <a:cs typeface="Arial Narrow" panose="020B0606020202030204"/>
              </a:rPr>
              <a:t>жобасы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i="1" dirty="0" err="1">
                <a:latin typeface="Arial" panose="020B0604020202020204"/>
                <a:cs typeface="Arial Narrow" panose="020B0606020202030204"/>
              </a:rPr>
              <a:t>шеңберінде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100" b="1" i="1" dirty="0">
                <a:solidFill>
                  <a:srgbClr val="00B050"/>
                </a:solidFill>
                <a:latin typeface="Arial" panose="020B0604020202020204"/>
                <a:cs typeface="Arial Narrow" panose="020B0606020202030204"/>
              </a:rPr>
              <a:t>- 11 </a:t>
            </a:r>
            <a:r>
              <a:rPr lang="ru-RU" sz="1200" i="1" dirty="0" err="1">
                <a:latin typeface="Arial" panose="020B0604020202020204"/>
                <a:cs typeface="Arial Narrow" panose="020B0606020202030204"/>
              </a:rPr>
              <a:t>өкілеттік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200" i="1" dirty="0" err="1">
                <a:latin typeface="Arial" panose="020B0604020202020204"/>
                <a:cs typeface="Arial Narrow" panose="020B0606020202030204"/>
              </a:rPr>
              <a:t>ілеспе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i="1" dirty="0" err="1">
                <a:latin typeface="Arial" panose="020B0604020202020204"/>
                <a:cs typeface="Arial Narrow" panose="020B0606020202030204"/>
              </a:rPr>
              <a:t>заң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i="1" dirty="0" err="1">
                <a:latin typeface="Arial" panose="020B0604020202020204"/>
                <a:cs typeface="Arial Narrow" panose="020B0606020202030204"/>
              </a:rPr>
              <a:t>жобасы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i="1" dirty="0" err="1">
                <a:latin typeface="Arial" panose="020B0604020202020204"/>
                <a:cs typeface="Arial Narrow" panose="020B0606020202030204"/>
              </a:rPr>
              <a:t>шеңберінде</a:t>
            </a:r>
            <a:r>
              <a:rPr lang="ru-RU" sz="1200" i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100" b="1" i="1" dirty="0">
                <a:solidFill>
                  <a:srgbClr val="00B050"/>
                </a:solidFill>
                <a:latin typeface="Arial" panose="020B0604020202020204"/>
                <a:cs typeface="Arial Narrow" panose="020B0606020202030204"/>
              </a:rPr>
              <a:t>– 14 </a:t>
            </a:r>
            <a:r>
              <a:rPr lang="ru-RU" sz="1200" i="1" dirty="0" err="1">
                <a:latin typeface="Arial" panose="020B0604020202020204"/>
                <a:cs typeface="Arial Narrow" panose="020B0606020202030204"/>
              </a:rPr>
              <a:t>өкілеттік</a:t>
            </a:r>
            <a:r>
              <a:rPr lang="ru-RU" sz="1200" i="1" dirty="0" smtClean="0">
                <a:latin typeface="Arial" panose="020B0604020202020204"/>
                <a:cs typeface="Arial Narrow" panose="020B0606020202030204"/>
              </a:rPr>
              <a:t>)</a:t>
            </a:r>
            <a:endParaRPr lang="ru-RU" sz="1200" i="1" dirty="0">
              <a:latin typeface="Arial" panose="020B0604020202020204"/>
              <a:cs typeface="Arial Narrow" panose="020B0606020202030204"/>
            </a:endParaRPr>
          </a:p>
        </p:txBody>
      </p:sp>
    </p:spTree>
    <p:extLst>
      <p:ext uri="{BB962C8B-B14F-4D97-AF65-F5344CB8AC3E}">
        <p14:creationId xmlns:p14="http://schemas.microsoft.com/office/powerpoint/2010/main" val="655121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5400" cap="flat" cmpd="sng" algn="ctr">
          <a:noFill/>
          <a:prstDash val="solid"/>
        </a:ln>
        <a:effectLst/>
      </a:spPr>
      <a:bodyPr spcFirstLastPara="0" vert="horz" wrap="square" lIns="162192" tIns="162192" rIns="162192" bIns="162192" numCol="1" spcCol="1270" anchor="ctr" anchorCtr="0">
        <a:noAutofit/>
      </a:bodyPr>
      <a:lstStyle>
        <a:defPPr marL="180975" indent="-180975" defTabSz="914400" fontAlgn="auto">
          <a:spcBef>
            <a:spcPts val="0"/>
          </a:spcBef>
          <a:spcAft>
            <a:spcPts val="0"/>
          </a:spcAft>
          <a:buFont typeface="Arial" panose="020B0604020202020204" pitchFamily="34" charset="0"/>
          <a:buChar char="•"/>
          <a:defRPr sz="1400" cap="small" dirty="0" smtClean="0">
            <a:solidFill>
              <a:srgbClr val="002060"/>
            </a:solidFill>
            <a:latin typeface="Arial" panose="020B0604020202020204" pitchFamily="34" charset="0"/>
            <a:ea typeface="Tahoma" panose="020B060403050404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.potx" id="{13C89596-CA46-49FE-8759-AF466791A752}" vid="{129FEF66-2A94-41F7-B48D-E9EEFD99D971}"/>
    </a:ext>
  </a:extLst>
</a:theme>
</file>

<file path=ppt/theme/theme4.xml><?xml version="1.0" encoding="utf-8"?>
<a:theme xmlns:a="http://schemas.openxmlformats.org/drawingml/2006/main" name="1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.potx" id="{13C89596-CA46-49FE-8759-AF466791A752}" vid="{129FEF66-2A94-41F7-B48D-E9EEFD99D971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5310</TotalTime>
  <Words>1269</Words>
  <Application>Microsoft Office PowerPoint</Application>
  <PresentationFormat>Экран (16:9)</PresentationFormat>
  <Paragraphs>178</Paragraphs>
  <Slides>15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0" baseType="lpstr">
      <vt:lpstr>맑은 고딕</vt:lpstr>
      <vt:lpstr>ＭＳ Ｐゴシック</vt:lpstr>
      <vt:lpstr>Arial</vt:lpstr>
      <vt:lpstr>Arial Narrow</vt:lpstr>
      <vt:lpstr>Calibri</vt:lpstr>
      <vt:lpstr>Calibri Light</vt:lpstr>
      <vt:lpstr>Gill Sans</vt:lpstr>
      <vt:lpstr>Segoe UI Light</vt:lpstr>
      <vt:lpstr>Tahoma</vt:lpstr>
      <vt:lpstr>Times New Roman</vt:lpstr>
      <vt:lpstr>Тема Office</vt:lpstr>
      <vt:lpstr>1_2. Дополнительные</vt:lpstr>
      <vt:lpstr>Firm Format - template_Blue</vt:lpstr>
      <vt:lpstr>1_Firm Format - template_Blu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иржан Иманбаев</dc:creator>
  <cp:lastModifiedBy>Аубакирова Бибисара</cp:lastModifiedBy>
  <cp:revision>584</cp:revision>
  <cp:lastPrinted>2022-10-07T06:06:08Z</cp:lastPrinted>
  <dcterms:created xsi:type="dcterms:W3CDTF">2017-09-18T08:04:07Z</dcterms:created>
  <dcterms:modified xsi:type="dcterms:W3CDTF">2022-10-22T11:33:44Z</dcterms:modified>
</cp:coreProperties>
</file>